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7" r:id="rId1"/>
  </p:sldMasterIdLst>
  <p:notesMasterIdLst>
    <p:notesMasterId r:id="rId12"/>
  </p:notesMasterIdLst>
  <p:handoutMasterIdLst>
    <p:handoutMasterId r:id="rId13"/>
  </p:handoutMasterIdLst>
  <p:sldIdLst>
    <p:sldId id="256" r:id="rId2"/>
    <p:sldId id="1965" r:id="rId3"/>
    <p:sldId id="1969" r:id="rId4"/>
    <p:sldId id="1976" r:id="rId5"/>
    <p:sldId id="1971" r:id="rId6"/>
    <p:sldId id="1972" r:id="rId7"/>
    <p:sldId id="1973" r:id="rId8"/>
    <p:sldId id="1974" r:id="rId9"/>
    <p:sldId id="1966" r:id="rId10"/>
    <p:sldId id="1964" r:id="rId11"/>
  </p:sldIdLst>
  <p:sldSz cx="12192000" cy="6858000"/>
  <p:notesSz cx="6805613" cy="9939338"/>
  <p:custDataLst>
    <p:tags r:id="rId1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unsch, Johannes" initials="BJ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81422"/>
    <a:srgbClr val="39DC1F"/>
    <a:srgbClr val="DECE13"/>
    <a:srgbClr val="0A0A0A"/>
    <a:srgbClr val="008798"/>
    <a:srgbClr val="477BBB"/>
    <a:srgbClr val="558ED5"/>
    <a:srgbClr val="042042"/>
    <a:srgbClr val="083E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E28E08-4874-42D6-A139-39FD2AA6B99D}" v="79" dt="2024-10-27T14:36:22.882"/>
  </p1510:revLst>
</p1510:revInfo>
</file>

<file path=ppt/tableStyles.xml><?xml version="1.0" encoding="utf-8"?>
<a:tblStyleLst xmlns:a="http://schemas.openxmlformats.org/drawingml/2006/main" def="{5C22544A-7EE6-4342-B048-85BDC9FD1C3A}"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54" autoAdjust="0"/>
    <p:restoredTop sz="96196" autoAdjust="0"/>
  </p:normalViewPr>
  <p:slideViewPr>
    <p:cSldViewPr snapToObjects="1">
      <p:cViewPr varScale="1">
        <p:scale>
          <a:sx n="117" d="100"/>
          <a:sy n="117" d="100"/>
        </p:scale>
        <p:origin x="30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3594" y="66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as Theis" userId="a0f3eff05f862fa8" providerId="LiveId" clId="{89E28E08-4874-42D6-A139-39FD2AA6B99D}"/>
    <pc:docChg chg="undo redo custSel addSld delSld modSld sldOrd modMainMaster">
      <pc:chgData name="Elias Theis" userId="a0f3eff05f862fa8" providerId="LiveId" clId="{89E28E08-4874-42D6-A139-39FD2AA6B99D}" dt="2024-10-29T12:21:35.190" v="2477" actId="1035"/>
      <pc:docMkLst>
        <pc:docMk/>
      </pc:docMkLst>
      <pc:sldChg chg="modSp mod">
        <pc:chgData name="Elias Theis" userId="a0f3eff05f862fa8" providerId="LiveId" clId="{89E28E08-4874-42D6-A139-39FD2AA6B99D}" dt="2024-10-27T14:18:03.135" v="1986" actId="1076"/>
        <pc:sldMkLst>
          <pc:docMk/>
          <pc:sldMk cId="2533893218" sldId="256"/>
        </pc:sldMkLst>
        <pc:spChg chg="mod">
          <ac:chgData name="Elias Theis" userId="a0f3eff05f862fa8" providerId="LiveId" clId="{89E28E08-4874-42D6-A139-39FD2AA6B99D}" dt="2024-10-27T08:42:24.682" v="3" actId="6549"/>
          <ac:spMkLst>
            <pc:docMk/>
            <pc:sldMk cId="2533893218" sldId="256"/>
            <ac:spMk id="3" creationId="{2DFB4A46-700A-903A-DBEF-EDBCF9FA0832}"/>
          </ac:spMkLst>
        </pc:spChg>
        <pc:spChg chg="mod">
          <ac:chgData name="Elias Theis" userId="a0f3eff05f862fa8" providerId="LiveId" clId="{89E28E08-4874-42D6-A139-39FD2AA6B99D}" dt="2024-10-27T08:42:40.802" v="24" actId="20577"/>
          <ac:spMkLst>
            <pc:docMk/>
            <pc:sldMk cId="2533893218" sldId="256"/>
            <ac:spMk id="13" creationId="{C94AE00C-6A0F-72DB-8398-F4B33958BFE5}"/>
          </ac:spMkLst>
        </pc:spChg>
        <pc:picChg chg="mod">
          <ac:chgData name="Elias Theis" userId="a0f3eff05f862fa8" providerId="LiveId" clId="{89E28E08-4874-42D6-A139-39FD2AA6B99D}" dt="2024-10-27T14:18:03.135" v="1986" actId="1076"/>
          <ac:picMkLst>
            <pc:docMk/>
            <pc:sldMk cId="2533893218" sldId="256"/>
            <ac:picMk id="6" creationId="{DE62C448-B3C0-7D37-FE0C-1101A7596E70}"/>
          </ac:picMkLst>
        </pc:picChg>
      </pc:sldChg>
      <pc:sldChg chg="addSp delSp modSp mod">
        <pc:chgData name="Elias Theis" userId="a0f3eff05f862fa8" providerId="LiveId" clId="{89E28E08-4874-42D6-A139-39FD2AA6B99D}" dt="2024-10-29T12:21:35.190" v="2477" actId="1035"/>
        <pc:sldMkLst>
          <pc:docMk/>
          <pc:sldMk cId="4290775995" sldId="1965"/>
        </pc:sldMkLst>
        <pc:spChg chg="mod">
          <ac:chgData name="Elias Theis" userId="a0f3eff05f862fa8" providerId="LiveId" clId="{89E28E08-4874-42D6-A139-39FD2AA6B99D}" dt="2024-10-29T12:21:35.190" v="2477" actId="1035"/>
          <ac:spMkLst>
            <pc:docMk/>
            <pc:sldMk cId="4290775995" sldId="1965"/>
            <ac:spMk id="17" creationId="{E2B696FC-05AA-94EF-9554-6D184DA3C62D}"/>
          </ac:spMkLst>
        </pc:spChg>
        <pc:spChg chg="mod">
          <ac:chgData name="Elias Theis" userId="a0f3eff05f862fa8" providerId="LiveId" clId="{89E28E08-4874-42D6-A139-39FD2AA6B99D}" dt="2024-10-27T14:27:14.910" v="2396" actId="20577"/>
          <ac:spMkLst>
            <pc:docMk/>
            <pc:sldMk cId="4290775995" sldId="1965"/>
            <ac:spMk id="27" creationId="{33A7D1AD-B81A-20AB-7E27-C356E7964E1B}"/>
          </ac:spMkLst>
        </pc:spChg>
        <pc:spChg chg="mod">
          <ac:chgData name="Elias Theis" userId="a0f3eff05f862fa8" providerId="LiveId" clId="{89E28E08-4874-42D6-A139-39FD2AA6B99D}" dt="2024-10-27T14:30:37.174" v="2443" actId="1036"/>
          <ac:spMkLst>
            <pc:docMk/>
            <pc:sldMk cId="4290775995" sldId="1965"/>
            <ac:spMk id="28" creationId="{A5C7A559-31E2-F1BD-C637-8EACB4495FCA}"/>
          </ac:spMkLst>
        </pc:spChg>
        <pc:spChg chg="add mod">
          <ac:chgData name="Elias Theis" userId="a0f3eff05f862fa8" providerId="LiveId" clId="{89E28E08-4874-42D6-A139-39FD2AA6B99D}" dt="2024-10-27T09:02:21.178" v="592" actId="164"/>
          <ac:spMkLst>
            <pc:docMk/>
            <pc:sldMk cId="4290775995" sldId="1965"/>
            <ac:spMk id="30" creationId="{4A644BD9-1148-8A67-BC77-B0BFBC077F66}"/>
          </ac:spMkLst>
        </pc:spChg>
        <pc:spChg chg="add mod">
          <ac:chgData name="Elias Theis" userId="a0f3eff05f862fa8" providerId="LiveId" clId="{89E28E08-4874-42D6-A139-39FD2AA6B99D}" dt="2024-10-27T09:02:21.178" v="592" actId="164"/>
          <ac:spMkLst>
            <pc:docMk/>
            <pc:sldMk cId="4290775995" sldId="1965"/>
            <ac:spMk id="31" creationId="{D13141BF-A3DD-3A43-643B-C49EB33875ED}"/>
          </ac:spMkLst>
        </pc:spChg>
        <pc:spChg chg="add mod">
          <ac:chgData name="Elias Theis" userId="a0f3eff05f862fa8" providerId="LiveId" clId="{89E28E08-4874-42D6-A139-39FD2AA6B99D}" dt="2024-10-27T09:13:18.839" v="766" actId="14100"/>
          <ac:spMkLst>
            <pc:docMk/>
            <pc:sldMk cId="4290775995" sldId="1965"/>
            <ac:spMk id="32" creationId="{E497AFE9-C763-7BC3-632F-DEE2BBBDBCCE}"/>
          </ac:spMkLst>
        </pc:spChg>
        <pc:spChg chg="add mod">
          <ac:chgData name="Elias Theis" userId="a0f3eff05f862fa8" providerId="LiveId" clId="{89E28E08-4874-42D6-A139-39FD2AA6B99D}" dt="2024-10-27T09:02:21.178" v="592" actId="164"/>
          <ac:spMkLst>
            <pc:docMk/>
            <pc:sldMk cId="4290775995" sldId="1965"/>
            <ac:spMk id="33" creationId="{B7178E26-FA75-3AD7-445C-CBFB04102B62}"/>
          </ac:spMkLst>
        </pc:spChg>
        <pc:spChg chg="add del mod">
          <ac:chgData name="Elias Theis" userId="a0f3eff05f862fa8" providerId="LiveId" clId="{89E28E08-4874-42D6-A139-39FD2AA6B99D}" dt="2024-10-29T12:21:19.282" v="2458" actId="478"/>
          <ac:spMkLst>
            <pc:docMk/>
            <pc:sldMk cId="4290775995" sldId="1965"/>
            <ac:spMk id="43" creationId="{713B4437-BB1B-7DEC-BB0E-8DF9A506A91A}"/>
          </ac:spMkLst>
        </pc:spChg>
        <pc:spChg chg="add mod">
          <ac:chgData name="Elias Theis" userId="a0f3eff05f862fa8" providerId="LiveId" clId="{89E28E08-4874-42D6-A139-39FD2AA6B99D}" dt="2024-10-29T12:21:35.190" v="2477" actId="1035"/>
          <ac:spMkLst>
            <pc:docMk/>
            <pc:sldMk cId="4290775995" sldId="1965"/>
            <ac:spMk id="46" creationId="{88AFE959-C72B-D3BE-832C-2DFCEF4D608D}"/>
          </ac:spMkLst>
        </pc:spChg>
        <pc:spChg chg="add mod">
          <ac:chgData name="Elias Theis" userId="a0f3eff05f862fa8" providerId="LiveId" clId="{89E28E08-4874-42D6-A139-39FD2AA6B99D}" dt="2024-10-29T12:21:35.190" v="2477" actId="1035"/>
          <ac:spMkLst>
            <pc:docMk/>
            <pc:sldMk cId="4290775995" sldId="1965"/>
            <ac:spMk id="49" creationId="{BD5A8734-8965-D2BF-DBA1-168386B3B033}"/>
          </ac:spMkLst>
        </pc:spChg>
        <pc:spChg chg="add mod">
          <ac:chgData name="Elias Theis" userId="a0f3eff05f862fa8" providerId="LiveId" clId="{89E28E08-4874-42D6-A139-39FD2AA6B99D}" dt="2024-10-29T12:21:35.190" v="2477" actId="1035"/>
          <ac:spMkLst>
            <pc:docMk/>
            <pc:sldMk cId="4290775995" sldId="1965"/>
            <ac:spMk id="56" creationId="{F5537504-02FB-5493-0AF7-C63D83F53EFF}"/>
          </ac:spMkLst>
        </pc:spChg>
        <pc:grpChg chg="add mod">
          <ac:chgData name="Elias Theis" userId="a0f3eff05f862fa8" providerId="LiveId" clId="{89E28E08-4874-42D6-A139-39FD2AA6B99D}" dt="2024-10-29T12:21:35.190" v="2477" actId="1035"/>
          <ac:grpSpMkLst>
            <pc:docMk/>
            <pc:sldMk cId="4290775995" sldId="1965"/>
            <ac:grpSpMk id="34" creationId="{D2351291-FAF4-34F9-3C85-3160101BCC2A}"/>
          </ac:grpSpMkLst>
        </pc:grpChg>
        <pc:picChg chg="add del mod">
          <ac:chgData name="Elias Theis" userId="a0f3eff05f862fa8" providerId="LiveId" clId="{89E28E08-4874-42D6-A139-39FD2AA6B99D}" dt="2024-10-27T13:56:04.541" v="1563" actId="478"/>
          <ac:picMkLst>
            <pc:docMk/>
            <pc:sldMk cId="4290775995" sldId="1965"/>
            <ac:picMk id="36" creationId="{0025D8E8-D98E-C7B6-2743-9CB9D897F1B1}"/>
          </ac:picMkLst>
        </pc:picChg>
        <pc:picChg chg="add mod">
          <ac:chgData name="Elias Theis" userId="a0f3eff05f862fa8" providerId="LiveId" clId="{89E28E08-4874-42D6-A139-39FD2AA6B99D}" dt="2024-10-27T14:30:37.174" v="2443" actId="1036"/>
          <ac:picMkLst>
            <pc:docMk/>
            <pc:sldMk cId="4290775995" sldId="1965"/>
            <ac:picMk id="38" creationId="{8A1715F2-74C1-77A6-E663-1FA7A904C5E0}"/>
          </ac:picMkLst>
        </pc:picChg>
        <pc:picChg chg="add del mod">
          <ac:chgData name="Elias Theis" userId="a0f3eff05f862fa8" providerId="LiveId" clId="{89E28E08-4874-42D6-A139-39FD2AA6B99D}" dt="2024-10-29T12:21:19.282" v="2458" actId="478"/>
          <ac:picMkLst>
            <pc:docMk/>
            <pc:sldMk cId="4290775995" sldId="1965"/>
            <ac:picMk id="40" creationId="{BE52882E-94CB-E555-E77A-50B51A37776B}"/>
          </ac:picMkLst>
        </pc:picChg>
        <pc:picChg chg="add del mod">
          <ac:chgData name="Elias Theis" userId="a0f3eff05f862fa8" providerId="LiveId" clId="{89E28E08-4874-42D6-A139-39FD2AA6B99D}" dt="2024-10-27T13:02:19.539" v="1503" actId="478"/>
          <ac:picMkLst>
            <pc:docMk/>
            <pc:sldMk cId="4290775995" sldId="1965"/>
            <ac:picMk id="42" creationId="{848141CC-2EF5-2BCD-45C4-DB88B08546CA}"/>
          </ac:picMkLst>
        </pc:picChg>
        <pc:picChg chg="add mod">
          <ac:chgData name="Elias Theis" userId="a0f3eff05f862fa8" providerId="LiveId" clId="{89E28E08-4874-42D6-A139-39FD2AA6B99D}" dt="2024-10-29T12:21:35.190" v="2477" actId="1035"/>
          <ac:picMkLst>
            <pc:docMk/>
            <pc:sldMk cId="4290775995" sldId="1965"/>
            <ac:picMk id="45" creationId="{735F76BF-0BE3-C2B9-8162-AE2127643E1C}"/>
          </ac:picMkLst>
        </pc:picChg>
        <pc:picChg chg="add mod">
          <ac:chgData name="Elias Theis" userId="a0f3eff05f862fa8" providerId="LiveId" clId="{89E28E08-4874-42D6-A139-39FD2AA6B99D}" dt="2024-10-29T12:21:35.190" v="2477" actId="1035"/>
          <ac:picMkLst>
            <pc:docMk/>
            <pc:sldMk cId="4290775995" sldId="1965"/>
            <ac:picMk id="48" creationId="{F7DF9C2D-2F15-74EE-DA54-5B593571E828}"/>
          </ac:picMkLst>
        </pc:picChg>
        <pc:picChg chg="add mod">
          <ac:chgData name="Elias Theis" userId="a0f3eff05f862fa8" providerId="LiveId" clId="{89E28E08-4874-42D6-A139-39FD2AA6B99D}" dt="2024-10-27T14:30:47.752" v="2452" actId="1076"/>
          <ac:picMkLst>
            <pc:docMk/>
            <pc:sldMk cId="4290775995" sldId="1965"/>
            <ac:picMk id="51" creationId="{78F36255-F353-9F9F-D08D-41D44EDAF5E9}"/>
          </ac:picMkLst>
        </pc:picChg>
        <pc:picChg chg="add mod">
          <ac:chgData name="Elias Theis" userId="a0f3eff05f862fa8" providerId="LiveId" clId="{89E28E08-4874-42D6-A139-39FD2AA6B99D}" dt="2024-10-29T12:21:35.190" v="2477" actId="1035"/>
          <ac:picMkLst>
            <pc:docMk/>
            <pc:sldMk cId="4290775995" sldId="1965"/>
            <ac:picMk id="53" creationId="{43C0358A-6AAA-D7F9-883C-7A437E3A1307}"/>
          </ac:picMkLst>
        </pc:picChg>
        <pc:picChg chg="add del mod">
          <ac:chgData name="Elias Theis" userId="a0f3eff05f862fa8" providerId="LiveId" clId="{89E28E08-4874-42D6-A139-39FD2AA6B99D}" dt="2024-10-27T13:57:22.717" v="1567" actId="478"/>
          <ac:picMkLst>
            <pc:docMk/>
            <pc:sldMk cId="4290775995" sldId="1965"/>
            <ac:picMk id="55" creationId="{3294BB4C-CA0B-CE48-AC3C-08B57AEDF3EF}"/>
          </ac:picMkLst>
        </pc:picChg>
        <pc:cxnChg chg="add mod">
          <ac:chgData name="Elias Theis" userId="a0f3eff05f862fa8" providerId="LiveId" clId="{89E28E08-4874-42D6-A139-39FD2AA6B99D}" dt="2024-10-27T09:02:21.178" v="592" actId="164"/>
          <ac:cxnSpMkLst>
            <pc:docMk/>
            <pc:sldMk cId="4290775995" sldId="1965"/>
            <ac:cxnSpMk id="3" creationId="{E9D0F3F8-C795-8482-3DD1-62FC602D2A2E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8" creationId="{CF08B4CC-0571-934D-2A35-92EC083A9380}"/>
          </ac:cxnSpMkLst>
        </pc:cxnChg>
        <pc:cxnChg chg="add del mod">
          <ac:chgData name="Elias Theis" userId="a0f3eff05f862fa8" providerId="LiveId" clId="{89E28E08-4874-42D6-A139-39FD2AA6B99D}" dt="2024-10-27T08:58:44.730" v="492" actId="478"/>
          <ac:cxnSpMkLst>
            <pc:docMk/>
            <pc:sldMk cId="4290775995" sldId="1965"/>
            <ac:cxnSpMk id="9" creationId="{DAD61CA9-A0A8-D857-5629-9C6A0606B5A9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0" creationId="{F958017C-B56C-602D-F771-EF85FACEB0D0}"/>
          </ac:cxnSpMkLst>
        </pc:cxnChg>
        <pc:cxnChg chg="add del mod">
          <ac:chgData name="Elias Theis" userId="a0f3eff05f862fa8" providerId="LiveId" clId="{89E28E08-4874-42D6-A139-39FD2AA6B99D}" dt="2024-10-27T08:57:50.530" v="344" actId="478"/>
          <ac:cxnSpMkLst>
            <pc:docMk/>
            <pc:sldMk cId="4290775995" sldId="1965"/>
            <ac:cxnSpMk id="11" creationId="{9CBFF9E9-88DF-FCD6-F5A1-BD4E0B889F5E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2" creationId="{7484A5EE-9EA7-E354-D228-37F84E858EC7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3" creationId="{D7467573-5516-517B-A918-77FC0CC77A46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4" creationId="{0D206A09-5D3E-0FBF-8A92-FF4CEB75B8E4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5" creationId="{96955C5C-3FBB-F626-07F2-F3680349B9F9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6" creationId="{F6D77F49-5781-D98F-C22B-2C1BEFF9D099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8" creationId="{0354EB12-DC05-AC25-E7C6-43C839CD5C2B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19" creationId="{2C86CF43-50F5-6236-FD41-9FC160AC2B48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20" creationId="{5F190432-3C51-1BF4-0E83-311205818E5C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21" creationId="{5EC28EBE-E3D7-B2C4-8424-CB3689426D39}"/>
          </ac:cxnSpMkLst>
        </pc:cxnChg>
        <pc:cxnChg chg="add del mod">
          <ac:chgData name="Elias Theis" userId="a0f3eff05f862fa8" providerId="LiveId" clId="{89E28E08-4874-42D6-A139-39FD2AA6B99D}" dt="2024-10-27T08:59:21.115" v="493" actId="478"/>
          <ac:cxnSpMkLst>
            <pc:docMk/>
            <pc:sldMk cId="4290775995" sldId="1965"/>
            <ac:cxnSpMk id="22" creationId="{0A770EED-552F-394B-A7AC-8B08B2BBD095}"/>
          </ac:cxnSpMkLst>
        </pc:cxnChg>
        <pc:cxnChg chg="add mod">
          <ac:chgData name="Elias Theis" userId="a0f3eff05f862fa8" providerId="LiveId" clId="{89E28E08-4874-42D6-A139-39FD2AA6B99D}" dt="2024-10-27T09:02:21.178" v="592" actId="164"/>
          <ac:cxnSpMkLst>
            <pc:docMk/>
            <pc:sldMk cId="4290775995" sldId="1965"/>
            <ac:cxnSpMk id="25" creationId="{04A0D3FE-AD32-1A36-51A7-BA4CB2932574}"/>
          </ac:cxnSpMkLst>
        </pc:cxnChg>
        <pc:cxnChg chg="add mod">
          <ac:chgData name="Elias Theis" userId="a0f3eff05f862fa8" providerId="LiveId" clId="{89E28E08-4874-42D6-A139-39FD2AA6B99D}" dt="2024-10-27T09:02:21.178" v="592" actId="164"/>
          <ac:cxnSpMkLst>
            <pc:docMk/>
            <pc:sldMk cId="4290775995" sldId="1965"/>
            <ac:cxnSpMk id="26" creationId="{9D8357C1-4B3F-C58E-B754-F8041240EB15}"/>
          </ac:cxnSpMkLst>
        </pc:cxnChg>
      </pc:sldChg>
      <pc:sldChg chg="modSp mod">
        <pc:chgData name="Elias Theis" userId="a0f3eff05f862fa8" providerId="LiveId" clId="{89E28E08-4874-42D6-A139-39FD2AA6B99D}" dt="2024-10-27T13:20:49.147" v="1551"/>
        <pc:sldMkLst>
          <pc:docMk/>
          <pc:sldMk cId="65589274" sldId="1966"/>
        </pc:sldMkLst>
        <pc:spChg chg="mod">
          <ac:chgData name="Elias Theis" userId="a0f3eff05f862fa8" providerId="LiveId" clId="{89E28E08-4874-42D6-A139-39FD2AA6B99D}" dt="2024-10-27T13:20:49.147" v="1551"/>
          <ac:spMkLst>
            <pc:docMk/>
            <pc:sldMk cId="65589274" sldId="1966"/>
            <ac:spMk id="22" creationId="{5E98A83D-6EE9-3626-FFF1-43E3B30FCD52}"/>
          </ac:spMkLst>
        </pc:spChg>
      </pc:sldChg>
      <pc:sldChg chg="del">
        <pc:chgData name="Elias Theis" userId="a0f3eff05f862fa8" providerId="LiveId" clId="{89E28E08-4874-42D6-A139-39FD2AA6B99D}" dt="2024-10-27T13:20:32.733" v="1550" actId="47"/>
        <pc:sldMkLst>
          <pc:docMk/>
          <pc:sldMk cId="1414254958" sldId="1967"/>
        </pc:sldMkLst>
      </pc:sldChg>
      <pc:sldChg chg="del">
        <pc:chgData name="Elias Theis" userId="a0f3eff05f862fa8" providerId="LiveId" clId="{89E28E08-4874-42D6-A139-39FD2AA6B99D}" dt="2024-10-27T13:20:51.882" v="1552" actId="47"/>
        <pc:sldMkLst>
          <pc:docMk/>
          <pc:sldMk cId="2537784711" sldId="1968"/>
        </pc:sldMkLst>
      </pc:sldChg>
      <pc:sldChg chg="new del">
        <pc:chgData name="Elias Theis" userId="a0f3eff05f862fa8" providerId="LiveId" clId="{89E28E08-4874-42D6-A139-39FD2AA6B99D}" dt="2024-10-27T08:49:41.168" v="82" actId="680"/>
        <pc:sldMkLst>
          <pc:docMk/>
          <pc:sldMk cId="473509961" sldId="1969"/>
        </pc:sldMkLst>
      </pc:sldChg>
      <pc:sldChg chg="addSp delSp modSp new mod">
        <pc:chgData name="Elias Theis" userId="a0f3eff05f862fa8" providerId="LiveId" clId="{89E28E08-4874-42D6-A139-39FD2AA6B99D}" dt="2024-10-27T14:32:26.328" v="2457" actId="1076"/>
        <pc:sldMkLst>
          <pc:docMk/>
          <pc:sldMk cId="972759136" sldId="1969"/>
        </pc:sldMkLst>
        <pc:spChg chg="del">
          <ac:chgData name="Elias Theis" userId="a0f3eff05f862fa8" providerId="LiveId" clId="{89E28E08-4874-42D6-A139-39FD2AA6B99D}" dt="2024-10-27T13:18:19.445" v="1517" actId="478"/>
          <ac:spMkLst>
            <pc:docMk/>
            <pc:sldMk cId="972759136" sldId="1969"/>
            <ac:spMk id="2" creationId="{54049541-2BC9-16F7-6BCC-F026FF26F42C}"/>
          </ac:spMkLst>
        </pc:spChg>
        <pc:spChg chg="mod">
          <ac:chgData name="Elias Theis" userId="a0f3eff05f862fa8" providerId="LiveId" clId="{89E28E08-4874-42D6-A139-39FD2AA6B99D}" dt="2024-10-27T13:18:55.470" v="1520" actId="20577"/>
          <ac:spMkLst>
            <pc:docMk/>
            <pc:sldMk cId="972759136" sldId="1969"/>
            <ac:spMk id="3" creationId="{20A18FB7-4146-F4F4-CC98-5AABAA3D2212}"/>
          </ac:spMkLst>
        </pc:spChg>
        <pc:picChg chg="add del mod">
          <ac:chgData name="Elias Theis" userId="a0f3eff05f862fa8" providerId="LiveId" clId="{89E28E08-4874-42D6-A139-39FD2AA6B99D}" dt="2024-10-27T13:18:09.301" v="1514" actId="478"/>
          <ac:picMkLst>
            <pc:docMk/>
            <pc:sldMk cId="972759136" sldId="1969"/>
            <ac:picMk id="6" creationId="{1CAEE584-1713-AC0C-DD72-D17FA2E7AAF3}"/>
          </ac:picMkLst>
        </pc:picChg>
        <pc:picChg chg="add mod">
          <ac:chgData name="Elias Theis" userId="a0f3eff05f862fa8" providerId="LiveId" clId="{89E28E08-4874-42D6-A139-39FD2AA6B99D}" dt="2024-10-27T14:32:26.328" v="2457" actId="1076"/>
          <ac:picMkLst>
            <pc:docMk/>
            <pc:sldMk cId="972759136" sldId="1969"/>
            <ac:picMk id="8" creationId="{147364EF-BCED-6136-5359-1C19DC793137}"/>
          </ac:picMkLst>
        </pc:picChg>
      </pc:sldChg>
      <pc:sldChg chg="modSp new del mod ord">
        <pc:chgData name="Elias Theis" userId="a0f3eff05f862fa8" providerId="LiveId" clId="{89E28E08-4874-42D6-A139-39FD2AA6B99D}" dt="2024-10-27T14:10:18.885" v="1739" actId="47"/>
        <pc:sldMkLst>
          <pc:docMk/>
          <pc:sldMk cId="909584195" sldId="1970"/>
        </pc:sldMkLst>
        <pc:spChg chg="mod">
          <ac:chgData name="Elias Theis" userId="a0f3eff05f862fa8" providerId="LiveId" clId="{89E28E08-4874-42D6-A139-39FD2AA6B99D}" dt="2024-10-27T14:10:13.969" v="1737" actId="21"/>
          <ac:spMkLst>
            <pc:docMk/>
            <pc:sldMk cId="909584195" sldId="1970"/>
            <ac:spMk id="2" creationId="{EAECDFCC-AC83-9398-6EAE-A1D0DD7B172A}"/>
          </ac:spMkLst>
        </pc:spChg>
        <pc:spChg chg="mod">
          <ac:chgData name="Elias Theis" userId="a0f3eff05f862fa8" providerId="LiveId" clId="{89E28E08-4874-42D6-A139-39FD2AA6B99D}" dt="2024-10-27T09:45:20.971" v="860" actId="20577"/>
          <ac:spMkLst>
            <pc:docMk/>
            <pc:sldMk cId="909584195" sldId="1970"/>
            <ac:spMk id="3" creationId="{94CCCDC1-7364-DC74-1060-30166779252A}"/>
          </ac:spMkLst>
        </pc:spChg>
      </pc:sldChg>
      <pc:sldChg chg="addSp delSp modSp new mod modTransition">
        <pc:chgData name="Elias Theis" userId="a0f3eff05f862fa8" providerId="LiveId" clId="{89E28E08-4874-42D6-A139-39FD2AA6B99D}" dt="2024-10-27T14:28:06.798" v="2421" actId="20577"/>
        <pc:sldMkLst>
          <pc:docMk/>
          <pc:sldMk cId="85733616" sldId="1971"/>
        </pc:sldMkLst>
        <pc:spChg chg="mod">
          <ac:chgData name="Elias Theis" userId="a0f3eff05f862fa8" providerId="LiveId" clId="{89E28E08-4874-42D6-A139-39FD2AA6B99D}" dt="2024-10-27T14:07:50.163" v="1699" actId="113"/>
          <ac:spMkLst>
            <pc:docMk/>
            <pc:sldMk cId="85733616" sldId="1971"/>
            <ac:spMk id="2" creationId="{29740BD6-EFF2-DFEB-5321-348A39EB2D65}"/>
          </ac:spMkLst>
        </pc:spChg>
        <pc:spChg chg="mod">
          <ac:chgData name="Elias Theis" userId="a0f3eff05f862fa8" providerId="LiveId" clId="{89E28E08-4874-42D6-A139-39FD2AA6B99D}" dt="2024-10-27T14:18:39.109" v="1994" actId="20577"/>
          <ac:spMkLst>
            <pc:docMk/>
            <pc:sldMk cId="85733616" sldId="1971"/>
            <ac:spMk id="3" creationId="{F8342BD6-42A2-CAA5-54C4-B9303F16669E}"/>
          </ac:spMkLst>
        </pc:spChg>
        <pc:spChg chg="mod">
          <ac:chgData name="Elias Theis" userId="a0f3eff05f862fa8" providerId="LiveId" clId="{89E28E08-4874-42D6-A139-39FD2AA6B99D}" dt="2024-10-27T14:15:53.697" v="1902"/>
          <ac:spMkLst>
            <pc:docMk/>
            <pc:sldMk cId="85733616" sldId="1971"/>
            <ac:spMk id="4" creationId="{A7D5D7D5-659A-E216-2F62-BF878041F25C}"/>
          </ac:spMkLst>
        </pc:spChg>
        <pc:spChg chg="add mod">
          <ac:chgData name="Elias Theis" userId="a0f3eff05f862fa8" providerId="LiveId" clId="{89E28E08-4874-42D6-A139-39FD2AA6B99D}" dt="2024-10-27T14:28:06.798" v="2421" actId="20577"/>
          <ac:spMkLst>
            <pc:docMk/>
            <pc:sldMk cId="85733616" sldId="1971"/>
            <ac:spMk id="5" creationId="{B40BDC05-2E81-232D-7100-80227DB9878D}"/>
          </ac:spMkLst>
        </pc:spChg>
        <pc:spChg chg="add del">
          <ac:chgData name="Elias Theis" userId="a0f3eff05f862fa8" providerId="LiveId" clId="{89E28E08-4874-42D6-A139-39FD2AA6B99D}" dt="2024-10-27T09:55:32.365" v="1032" actId="22"/>
          <ac:spMkLst>
            <pc:docMk/>
            <pc:sldMk cId="85733616" sldId="1971"/>
            <ac:spMk id="8" creationId="{34A5B6FB-D68C-81DC-3445-0EF6873FFBF4}"/>
          </ac:spMkLst>
        </pc:spChg>
        <pc:spChg chg="add mod">
          <ac:chgData name="Elias Theis" userId="a0f3eff05f862fa8" providerId="LiveId" clId="{89E28E08-4874-42D6-A139-39FD2AA6B99D}" dt="2024-10-27T14:26:04.527" v="2386" actId="1037"/>
          <ac:spMkLst>
            <pc:docMk/>
            <pc:sldMk cId="85733616" sldId="1971"/>
            <ac:spMk id="11" creationId="{87734886-CE1B-D0FC-4A47-0099CF755257}"/>
          </ac:spMkLst>
        </pc:spChg>
        <pc:spChg chg="add mod">
          <ac:chgData name="Elias Theis" userId="a0f3eff05f862fa8" providerId="LiveId" clId="{89E28E08-4874-42D6-A139-39FD2AA6B99D}" dt="2024-10-27T14:26:04.111" v="2385" actId="1037"/>
          <ac:spMkLst>
            <pc:docMk/>
            <pc:sldMk cId="85733616" sldId="1971"/>
            <ac:spMk id="13" creationId="{56CA48B7-1546-B131-720A-1835392FE9B8}"/>
          </ac:spMkLst>
        </pc:spChg>
        <pc:picChg chg="add del mod">
          <ac:chgData name="Elias Theis" userId="a0f3eff05f862fa8" providerId="LiveId" clId="{89E28E08-4874-42D6-A139-39FD2AA6B99D}" dt="2024-10-27T14:03:35.445" v="1630" actId="478"/>
          <ac:picMkLst>
            <pc:docMk/>
            <pc:sldMk cId="85733616" sldId="1971"/>
            <ac:picMk id="6" creationId="{6D507F68-75B3-4805-B9AE-979574BC0191}"/>
          </ac:picMkLst>
        </pc:picChg>
        <pc:picChg chg="add mod">
          <ac:chgData name="Elias Theis" userId="a0f3eff05f862fa8" providerId="LiveId" clId="{89E28E08-4874-42D6-A139-39FD2AA6B99D}" dt="2024-10-27T14:03:55.493" v="1637" actId="1035"/>
          <ac:picMkLst>
            <pc:docMk/>
            <pc:sldMk cId="85733616" sldId="1971"/>
            <ac:picMk id="10" creationId="{7967D485-D44C-16E9-5C05-1024E6BBE9FC}"/>
          </ac:picMkLst>
        </pc:picChg>
        <pc:picChg chg="add mod">
          <ac:chgData name="Elias Theis" userId="a0f3eff05f862fa8" providerId="LiveId" clId="{89E28E08-4874-42D6-A139-39FD2AA6B99D}" dt="2024-10-27T14:26:04.527" v="2386" actId="1037"/>
          <ac:picMkLst>
            <pc:docMk/>
            <pc:sldMk cId="85733616" sldId="1971"/>
            <ac:picMk id="12" creationId="{DF841907-AAE3-E003-05A8-8D6726080719}"/>
          </ac:picMkLst>
        </pc:picChg>
        <pc:picChg chg="add mod">
          <ac:chgData name="Elias Theis" userId="a0f3eff05f862fa8" providerId="LiveId" clId="{89E28E08-4874-42D6-A139-39FD2AA6B99D}" dt="2024-10-27T14:26:04.111" v="2385" actId="1037"/>
          <ac:picMkLst>
            <pc:docMk/>
            <pc:sldMk cId="85733616" sldId="1971"/>
            <ac:picMk id="14" creationId="{1DF75180-E20D-5B2F-5591-717CB391C1F9}"/>
          </ac:picMkLst>
        </pc:picChg>
      </pc:sldChg>
      <pc:sldChg chg="addSp delSp modSp add mod modTransition">
        <pc:chgData name="Elias Theis" userId="a0f3eff05f862fa8" providerId="LiveId" clId="{89E28E08-4874-42D6-A139-39FD2AA6B99D}" dt="2024-10-27T14:28:16.829" v="2422" actId="20577"/>
        <pc:sldMkLst>
          <pc:docMk/>
          <pc:sldMk cId="2757768129" sldId="1972"/>
        </pc:sldMkLst>
        <pc:spChg chg="mod">
          <ac:chgData name="Elias Theis" userId="a0f3eff05f862fa8" providerId="LiveId" clId="{89E28E08-4874-42D6-A139-39FD2AA6B99D}" dt="2024-10-27T14:07:59.163" v="1701" actId="113"/>
          <ac:spMkLst>
            <pc:docMk/>
            <pc:sldMk cId="2757768129" sldId="1972"/>
            <ac:spMk id="2" creationId="{C0E9AADF-473E-F326-62FD-4DD4DC0021FD}"/>
          </ac:spMkLst>
        </pc:spChg>
        <pc:spChg chg="mod">
          <ac:chgData name="Elias Theis" userId="a0f3eff05f862fa8" providerId="LiveId" clId="{89E28E08-4874-42D6-A139-39FD2AA6B99D}" dt="2024-10-27T14:18:47.237" v="2010" actId="20577"/>
          <ac:spMkLst>
            <pc:docMk/>
            <pc:sldMk cId="2757768129" sldId="1972"/>
            <ac:spMk id="3" creationId="{8E3F29E1-7E90-0D4A-8B30-1109608FE763}"/>
          </ac:spMkLst>
        </pc:spChg>
        <pc:spChg chg="mod">
          <ac:chgData name="Elias Theis" userId="a0f3eff05f862fa8" providerId="LiveId" clId="{89E28E08-4874-42D6-A139-39FD2AA6B99D}" dt="2024-10-27T14:16:07.605" v="1923" actId="20577"/>
          <ac:spMkLst>
            <pc:docMk/>
            <pc:sldMk cId="2757768129" sldId="1972"/>
            <ac:spMk id="4" creationId="{FD7750E2-FB21-CF34-0385-8C7774E3D4B8}"/>
          </ac:spMkLst>
        </pc:spChg>
        <pc:spChg chg="mod">
          <ac:chgData name="Elias Theis" userId="a0f3eff05f862fa8" providerId="LiveId" clId="{89E28E08-4874-42D6-A139-39FD2AA6B99D}" dt="2024-10-27T14:28:16.829" v="2422" actId="20577"/>
          <ac:spMkLst>
            <pc:docMk/>
            <pc:sldMk cId="2757768129" sldId="1972"/>
            <ac:spMk id="5" creationId="{C0E9378E-0B42-BA49-569B-7A8FFA58929E}"/>
          </ac:spMkLst>
        </pc:spChg>
        <pc:spChg chg="add mod">
          <ac:chgData name="Elias Theis" userId="a0f3eff05f862fa8" providerId="LiveId" clId="{89E28E08-4874-42D6-A139-39FD2AA6B99D}" dt="2024-10-27T10:06:44.210" v="1055" actId="767"/>
          <ac:spMkLst>
            <pc:docMk/>
            <pc:sldMk cId="2757768129" sldId="1972"/>
            <ac:spMk id="9" creationId="{F6FF9C85-FD0C-8F8B-B74F-8D22C14ECF24}"/>
          </ac:spMkLst>
        </pc:spChg>
        <pc:spChg chg="add mod">
          <ac:chgData name="Elias Theis" userId="a0f3eff05f862fa8" providerId="LiveId" clId="{89E28E08-4874-42D6-A139-39FD2AA6B99D}" dt="2024-10-27T10:12:40.235" v="1152" actId="1036"/>
          <ac:spMkLst>
            <pc:docMk/>
            <pc:sldMk cId="2757768129" sldId="1972"/>
            <ac:spMk id="10" creationId="{5D775A88-8823-509B-0203-76F73EB138DC}"/>
          </ac:spMkLst>
        </pc:spChg>
        <pc:spChg chg="add mod">
          <ac:chgData name="Elias Theis" userId="a0f3eff05f862fa8" providerId="LiveId" clId="{89E28E08-4874-42D6-A139-39FD2AA6B99D}" dt="2024-10-27T10:12:37.059" v="1150" actId="1035"/>
          <ac:spMkLst>
            <pc:docMk/>
            <pc:sldMk cId="2757768129" sldId="1972"/>
            <ac:spMk id="12" creationId="{250FBFD2-F342-DB4F-10E7-3F1F015D2D6C}"/>
          </ac:spMkLst>
        </pc:spChg>
        <pc:grpChg chg="add mod">
          <ac:chgData name="Elias Theis" userId="a0f3eff05f862fa8" providerId="LiveId" clId="{89E28E08-4874-42D6-A139-39FD2AA6B99D}" dt="2024-10-27T10:12:40.235" v="1152" actId="1036"/>
          <ac:grpSpMkLst>
            <pc:docMk/>
            <pc:sldMk cId="2757768129" sldId="1972"/>
            <ac:grpSpMk id="11" creationId="{092542D4-C849-BEE1-641D-052128513C16}"/>
          </ac:grpSpMkLst>
        </pc:grpChg>
        <pc:grpChg chg="add mod">
          <ac:chgData name="Elias Theis" userId="a0f3eff05f862fa8" providerId="LiveId" clId="{89E28E08-4874-42D6-A139-39FD2AA6B99D}" dt="2024-10-27T10:12:17.406" v="1140" actId="164"/>
          <ac:grpSpMkLst>
            <pc:docMk/>
            <pc:sldMk cId="2757768129" sldId="1972"/>
            <ac:grpSpMk id="13" creationId="{5119F197-635B-E605-3587-74697F5E2D4B}"/>
          </ac:grpSpMkLst>
        </pc:grpChg>
        <pc:picChg chg="del">
          <ac:chgData name="Elias Theis" userId="a0f3eff05f862fa8" providerId="LiveId" clId="{89E28E08-4874-42D6-A139-39FD2AA6B99D}" dt="2024-10-27T10:03:21.692" v="1045" actId="478"/>
          <ac:picMkLst>
            <pc:docMk/>
            <pc:sldMk cId="2757768129" sldId="1972"/>
            <ac:picMk id="6" creationId="{E229CDAF-E005-F63C-FABD-CB5283EAD462}"/>
          </ac:picMkLst>
        </pc:picChg>
        <pc:picChg chg="add del mod">
          <ac:chgData name="Elias Theis" userId="a0f3eff05f862fa8" providerId="LiveId" clId="{89E28E08-4874-42D6-A139-39FD2AA6B99D}" dt="2024-10-27T14:05:28.261" v="1640" actId="478"/>
          <ac:picMkLst>
            <pc:docMk/>
            <pc:sldMk cId="2757768129" sldId="1972"/>
            <ac:picMk id="8" creationId="{5184617F-1321-4E57-474C-AFCA4C3713D4}"/>
          </ac:picMkLst>
        </pc:picChg>
        <pc:picChg chg="add del mod">
          <ac:chgData name="Elias Theis" userId="a0f3eff05f862fa8" providerId="LiveId" clId="{89E28E08-4874-42D6-A139-39FD2AA6B99D}" dt="2024-10-27T14:06:54.784" v="1690" actId="21"/>
          <ac:picMkLst>
            <pc:docMk/>
            <pc:sldMk cId="2757768129" sldId="1972"/>
            <ac:picMk id="15" creationId="{FB5962A3-BD24-671B-7A61-1766681672E0}"/>
          </ac:picMkLst>
        </pc:picChg>
        <pc:picChg chg="add mod">
          <ac:chgData name="Elias Theis" userId="a0f3eff05f862fa8" providerId="LiveId" clId="{89E28E08-4874-42D6-A139-39FD2AA6B99D}" dt="2024-10-27T14:07:15.302" v="1693" actId="1076"/>
          <ac:picMkLst>
            <pc:docMk/>
            <pc:sldMk cId="2757768129" sldId="1972"/>
            <ac:picMk id="17" creationId="{282AF6A4-A5A9-127E-AF25-CE64D4BD7CFB}"/>
          </ac:picMkLst>
        </pc:picChg>
        <pc:picChg chg="add mod">
          <ac:chgData name="Elias Theis" userId="a0f3eff05f862fa8" providerId="LiveId" clId="{89E28E08-4874-42D6-A139-39FD2AA6B99D}" dt="2024-10-27T10:12:40.235" v="1152" actId="1036"/>
          <ac:picMkLst>
            <pc:docMk/>
            <pc:sldMk cId="2757768129" sldId="1972"/>
            <ac:picMk id="1026" creationId="{D3A5ACC2-5A9D-84D1-6D28-85A22DCF6279}"/>
          </ac:picMkLst>
        </pc:picChg>
        <pc:picChg chg="add mod">
          <ac:chgData name="Elias Theis" userId="a0f3eff05f862fa8" providerId="LiveId" clId="{89E28E08-4874-42D6-A139-39FD2AA6B99D}" dt="2024-10-27T10:12:17.406" v="1140" actId="164"/>
          <ac:picMkLst>
            <pc:docMk/>
            <pc:sldMk cId="2757768129" sldId="1972"/>
            <ac:picMk id="1028" creationId="{1E981755-3D57-5729-6793-CA926E3B4DD7}"/>
          </ac:picMkLst>
        </pc:picChg>
      </pc:sldChg>
      <pc:sldChg chg="addSp delSp modSp new mod modTransition">
        <pc:chgData name="Elias Theis" userId="a0f3eff05f862fa8" providerId="LiveId" clId="{89E28E08-4874-42D6-A139-39FD2AA6B99D}" dt="2024-10-27T14:28:24.590" v="2424" actId="20577"/>
        <pc:sldMkLst>
          <pc:docMk/>
          <pc:sldMk cId="1254805197" sldId="1973"/>
        </pc:sldMkLst>
        <pc:spChg chg="del mod">
          <ac:chgData name="Elias Theis" userId="a0f3eff05f862fa8" providerId="LiveId" clId="{89E28E08-4874-42D6-A139-39FD2AA6B99D}" dt="2024-10-27T10:15:54.666" v="1223" actId="478"/>
          <ac:spMkLst>
            <pc:docMk/>
            <pc:sldMk cId="1254805197" sldId="1973"/>
            <ac:spMk id="2" creationId="{15F9840D-8DC3-6913-D9D3-8FFB4C28129D}"/>
          </ac:spMkLst>
        </pc:spChg>
        <pc:spChg chg="mod">
          <ac:chgData name="Elias Theis" userId="a0f3eff05f862fa8" providerId="LiveId" clId="{89E28E08-4874-42D6-A139-39FD2AA6B99D}" dt="2024-10-27T14:19:00.661" v="2029" actId="20577"/>
          <ac:spMkLst>
            <pc:docMk/>
            <pc:sldMk cId="1254805197" sldId="1973"/>
            <ac:spMk id="3" creationId="{A75131A8-1410-C948-3757-4AE572771C1A}"/>
          </ac:spMkLst>
        </pc:spChg>
        <pc:spChg chg="mod">
          <ac:chgData name="Elias Theis" userId="a0f3eff05f862fa8" providerId="LiveId" clId="{89E28E08-4874-42D6-A139-39FD2AA6B99D}" dt="2024-10-27T14:16:15.901" v="1942" actId="20577"/>
          <ac:spMkLst>
            <pc:docMk/>
            <pc:sldMk cId="1254805197" sldId="1973"/>
            <ac:spMk id="4" creationId="{6F251A7F-65E6-D7E7-88F0-858E02744710}"/>
          </ac:spMkLst>
        </pc:spChg>
        <pc:spChg chg="add mod">
          <ac:chgData name="Elias Theis" userId="a0f3eff05f862fa8" providerId="LiveId" clId="{89E28E08-4874-42D6-A139-39FD2AA6B99D}" dt="2024-10-27T14:28:24.590" v="2424" actId="20577"/>
          <ac:spMkLst>
            <pc:docMk/>
            <pc:sldMk cId="1254805197" sldId="1973"/>
            <ac:spMk id="7" creationId="{EF9AB94F-1F1D-C3F0-E276-2058B246D439}"/>
          </ac:spMkLst>
        </pc:spChg>
        <pc:spChg chg="add mod">
          <ac:chgData name="Elias Theis" userId="a0f3eff05f862fa8" providerId="LiveId" clId="{89E28E08-4874-42D6-A139-39FD2AA6B99D}" dt="2024-10-27T14:08:06.410" v="1703" actId="113"/>
          <ac:spMkLst>
            <pc:docMk/>
            <pc:sldMk cId="1254805197" sldId="1973"/>
            <ac:spMk id="9" creationId="{2A039C83-452C-936C-52C3-469C170FC073}"/>
          </ac:spMkLst>
        </pc:spChg>
        <pc:picChg chg="add del mod">
          <ac:chgData name="Elias Theis" userId="a0f3eff05f862fa8" providerId="LiveId" clId="{89E28E08-4874-42D6-A139-39FD2AA6B99D}" dt="2024-10-27T14:06:53.084" v="1689" actId="478"/>
          <ac:picMkLst>
            <pc:docMk/>
            <pc:sldMk cId="1254805197" sldId="1973"/>
            <ac:picMk id="6" creationId="{59857BC5-2573-E93A-E603-34EF96259463}"/>
          </ac:picMkLst>
        </pc:picChg>
        <pc:picChg chg="add del mod">
          <ac:chgData name="Elias Theis" userId="a0f3eff05f862fa8" providerId="LiveId" clId="{89E28E08-4874-42D6-A139-39FD2AA6B99D}" dt="2024-10-27T10:15:36.514" v="1174" actId="478"/>
          <ac:picMkLst>
            <pc:docMk/>
            <pc:sldMk cId="1254805197" sldId="1973"/>
            <ac:picMk id="8" creationId="{02F525D2-1DF0-9528-245B-AB1D64C29AB7}"/>
          </ac:picMkLst>
        </pc:picChg>
        <pc:picChg chg="add mod">
          <ac:chgData name="Elias Theis" userId="a0f3eff05f862fa8" providerId="LiveId" clId="{89E28E08-4874-42D6-A139-39FD2AA6B99D}" dt="2024-10-27T14:06:55.554" v="1691"/>
          <ac:picMkLst>
            <pc:docMk/>
            <pc:sldMk cId="1254805197" sldId="1973"/>
            <ac:picMk id="15" creationId="{FB5962A3-BD24-671B-7A61-1766681672E0}"/>
          </ac:picMkLst>
        </pc:picChg>
      </pc:sldChg>
      <pc:sldChg chg="addSp delSp modSp add mod modTransition">
        <pc:chgData name="Elias Theis" userId="a0f3eff05f862fa8" providerId="LiveId" clId="{89E28E08-4874-42D6-A139-39FD2AA6B99D}" dt="2024-10-27T14:28:29.438" v="2425" actId="20577"/>
        <pc:sldMkLst>
          <pc:docMk/>
          <pc:sldMk cId="729386001" sldId="1974"/>
        </pc:sldMkLst>
        <pc:spChg chg="mod">
          <ac:chgData name="Elias Theis" userId="a0f3eff05f862fa8" providerId="LiveId" clId="{89E28E08-4874-42D6-A139-39FD2AA6B99D}" dt="2024-10-27T14:19:12.557" v="2043" actId="20577"/>
          <ac:spMkLst>
            <pc:docMk/>
            <pc:sldMk cId="729386001" sldId="1974"/>
            <ac:spMk id="3" creationId="{6E58A580-A753-B399-CEF2-8073790A6851}"/>
          </ac:spMkLst>
        </pc:spChg>
        <pc:spChg chg="mod">
          <ac:chgData name="Elias Theis" userId="a0f3eff05f862fa8" providerId="LiveId" clId="{89E28E08-4874-42D6-A139-39FD2AA6B99D}" dt="2024-10-27T14:19:10.621" v="2042" actId="20577"/>
          <ac:spMkLst>
            <pc:docMk/>
            <pc:sldMk cId="729386001" sldId="1974"/>
            <ac:spMk id="4" creationId="{213771B1-6C63-08C3-AA45-329F8E8761DD}"/>
          </ac:spMkLst>
        </pc:spChg>
        <pc:spChg chg="add">
          <ac:chgData name="Elias Theis" userId="a0f3eff05f862fa8" providerId="LiveId" clId="{89E28E08-4874-42D6-A139-39FD2AA6B99D}" dt="2024-10-27T14:12:33.309" v="1792"/>
          <ac:spMkLst>
            <pc:docMk/>
            <pc:sldMk cId="729386001" sldId="1974"/>
            <ac:spMk id="6" creationId="{36EA5C8B-9977-D25E-2527-B6591BDBC728}"/>
          </ac:spMkLst>
        </pc:spChg>
        <pc:spChg chg="mod">
          <ac:chgData name="Elias Theis" userId="a0f3eff05f862fa8" providerId="LiveId" clId="{89E28E08-4874-42D6-A139-39FD2AA6B99D}" dt="2024-10-27T14:09:30.205" v="1733" actId="20577"/>
          <ac:spMkLst>
            <pc:docMk/>
            <pc:sldMk cId="729386001" sldId="1974"/>
            <ac:spMk id="7" creationId="{6826BF3B-B077-F339-E489-BABAF459439B}"/>
          </ac:spMkLst>
        </pc:spChg>
        <pc:spChg chg="mod">
          <ac:chgData name="Elias Theis" userId="a0f3eff05f862fa8" providerId="LiveId" clId="{89E28E08-4874-42D6-A139-39FD2AA6B99D}" dt="2024-10-27T14:28:29.438" v="2425" actId="20577"/>
          <ac:spMkLst>
            <pc:docMk/>
            <pc:sldMk cId="729386001" sldId="1974"/>
            <ac:spMk id="9" creationId="{F4E86268-007C-CCDB-1F8F-4919986AA050}"/>
          </ac:spMkLst>
        </pc:spChg>
        <pc:picChg chg="add mod">
          <ac:chgData name="Elias Theis" userId="a0f3eff05f862fa8" providerId="LiveId" clId="{89E28E08-4874-42D6-A139-39FD2AA6B99D}" dt="2024-10-27T14:14:15.250" v="1889" actId="1037"/>
          <ac:picMkLst>
            <pc:docMk/>
            <pc:sldMk cId="729386001" sldId="1974"/>
            <ac:picMk id="5" creationId="{19CAB021-2B05-0CCD-0A1D-083A9338BA3E}"/>
          </ac:picMkLst>
        </pc:picChg>
        <pc:picChg chg="del">
          <ac:chgData name="Elias Theis" userId="a0f3eff05f862fa8" providerId="LiveId" clId="{89E28E08-4874-42D6-A139-39FD2AA6B99D}" dt="2024-10-27T14:09:34.253" v="1734" actId="478"/>
          <ac:picMkLst>
            <pc:docMk/>
            <pc:sldMk cId="729386001" sldId="1974"/>
            <ac:picMk id="15" creationId="{23EA87BD-9B2D-F976-2D7D-799DC43D51C9}"/>
          </ac:picMkLst>
        </pc:picChg>
      </pc:sldChg>
      <pc:sldChg chg="modSp new del mod">
        <pc:chgData name="Elias Theis" userId="a0f3eff05f862fa8" providerId="LiveId" clId="{89E28E08-4874-42D6-A139-39FD2AA6B99D}" dt="2024-10-27T14:26:13.202" v="2395" actId="47"/>
        <pc:sldMkLst>
          <pc:docMk/>
          <pc:sldMk cId="4268651395" sldId="1975"/>
        </pc:sldMkLst>
        <pc:spChg chg="mod">
          <ac:chgData name="Elias Theis" userId="a0f3eff05f862fa8" providerId="LiveId" clId="{89E28E08-4874-42D6-A139-39FD2AA6B99D}" dt="2024-10-27T14:17:26.133" v="1984" actId="20577"/>
          <ac:spMkLst>
            <pc:docMk/>
            <pc:sldMk cId="4268651395" sldId="1975"/>
            <ac:spMk id="3" creationId="{918ABDDE-C82C-06CB-BD7B-0804EA310B17}"/>
          </ac:spMkLst>
        </pc:spChg>
      </pc:sldChg>
      <pc:sldChg chg="new del">
        <pc:chgData name="Elias Theis" userId="a0f3eff05f862fa8" providerId="LiveId" clId="{89E28E08-4874-42D6-A139-39FD2AA6B99D}" dt="2024-10-27T14:22:45.307" v="2045" actId="47"/>
        <pc:sldMkLst>
          <pc:docMk/>
          <pc:sldMk cId="2929832851" sldId="1976"/>
        </pc:sldMkLst>
      </pc:sldChg>
      <pc:sldChg chg="addSp delSp modSp new mod ord">
        <pc:chgData name="Elias Theis" userId="a0f3eff05f862fa8" providerId="LiveId" clId="{89E28E08-4874-42D6-A139-39FD2AA6B99D}" dt="2024-10-27T14:27:57.509" v="2417" actId="20577"/>
        <pc:sldMkLst>
          <pc:docMk/>
          <pc:sldMk cId="4057408139" sldId="1976"/>
        </pc:sldMkLst>
        <pc:spChg chg="mod">
          <ac:chgData name="Elias Theis" userId="a0f3eff05f862fa8" providerId="LiveId" clId="{89E28E08-4874-42D6-A139-39FD2AA6B99D}" dt="2024-10-27T14:27:32.053" v="2402" actId="20577"/>
          <ac:spMkLst>
            <pc:docMk/>
            <pc:sldMk cId="4057408139" sldId="1976"/>
            <ac:spMk id="2" creationId="{F4BF77C7-66CC-E193-8B7E-870A0F2005B9}"/>
          </ac:spMkLst>
        </pc:spChg>
        <pc:spChg chg="del">
          <ac:chgData name="Elias Theis" userId="a0f3eff05f862fa8" providerId="LiveId" clId="{89E28E08-4874-42D6-A139-39FD2AA6B99D}" dt="2024-10-27T14:23:33.359" v="2084" actId="478"/>
          <ac:spMkLst>
            <pc:docMk/>
            <pc:sldMk cId="4057408139" sldId="1976"/>
            <ac:spMk id="4" creationId="{75EA7C56-E23E-ECE6-DCFC-1347BDD447CE}"/>
          </ac:spMkLst>
        </pc:spChg>
        <pc:spChg chg="add mod">
          <ac:chgData name="Elias Theis" userId="a0f3eff05f862fa8" providerId="LiveId" clId="{89E28E08-4874-42D6-A139-39FD2AA6B99D}" dt="2024-10-27T14:27:52.246" v="2415" actId="20577"/>
          <ac:spMkLst>
            <pc:docMk/>
            <pc:sldMk cId="4057408139" sldId="1976"/>
            <ac:spMk id="5" creationId="{B8BDFB5A-2BF9-53B2-B588-771EECE74723}"/>
          </ac:spMkLst>
        </pc:spChg>
        <pc:spChg chg="add mod">
          <ac:chgData name="Elias Theis" userId="a0f3eff05f862fa8" providerId="LiveId" clId="{89E28E08-4874-42D6-A139-39FD2AA6B99D}" dt="2024-10-27T14:27:45.205" v="2412" actId="20577"/>
          <ac:spMkLst>
            <pc:docMk/>
            <pc:sldMk cId="4057408139" sldId="1976"/>
            <ac:spMk id="7" creationId="{6398EF6F-67C3-3D11-E29C-C92764EA943E}"/>
          </ac:spMkLst>
        </pc:spChg>
        <pc:spChg chg="add mod">
          <ac:chgData name="Elias Theis" userId="a0f3eff05f862fa8" providerId="LiveId" clId="{89E28E08-4874-42D6-A139-39FD2AA6B99D}" dt="2024-10-27T14:27:57.509" v="2417" actId="20577"/>
          <ac:spMkLst>
            <pc:docMk/>
            <pc:sldMk cId="4057408139" sldId="1976"/>
            <ac:spMk id="9" creationId="{B958C50C-2DED-BD6E-C730-D140C2A6A9A9}"/>
          </ac:spMkLst>
        </pc:spChg>
        <pc:picChg chg="add mod">
          <ac:chgData name="Elias Theis" userId="a0f3eff05f862fa8" providerId="LiveId" clId="{89E28E08-4874-42D6-A139-39FD2AA6B99D}" dt="2024-10-27T14:23:39.530" v="2085"/>
          <ac:picMkLst>
            <pc:docMk/>
            <pc:sldMk cId="4057408139" sldId="1976"/>
            <ac:picMk id="6" creationId="{7532715D-8248-75DC-7B0B-D5FC8612B0DA}"/>
          </ac:picMkLst>
        </pc:picChg>
        <pc:picChg chg="add mod">
          <ac:chgData name="Elias Theis" userId="a0f3eff05f862fa8" providerId="LiveId" clId="{89E28E08-4874-42D6-A139-39FD2AA6B99D}" dt="2024-10-27T14:23:50.966" v="2100" actId="1036"/>
          <ac:picMkLst>
            <pc:docMk/>
            <pc:sldMk cId="4057408139" sldId="1976"/>
            <ac:picMk id="8" creationId="{105132F8-216C-620F-1110-F0AD2B5C7EC1}"/>
          </ac:picMkLst>
        </pc:picChg>
        <pc:picChg chg="add mod">
          <ac:chgData name="Elias Theis" userId="a0f3eff05f862fa8" providerId="LiveId" clId="{89E28E08-4874-42D6-A139-39FD2AA6B99D}" dt="2024-10-27T14:24:00.005" v="2130" actId="1036"/>
          <ac:picMkLst>
            <pc:docMk/>
            <pc:sldMk cId="4057408139" sldId="1976"/>
            <ac:picMk id="10" creationId="{B5038118-80A0-7C8C-B5CD-9D92E1675292}"/>
          </ac:picMkLst>
        </pc:picChg>
      </pc:sldChg>
      <pc:sldMasterChg chg="modSp mod modSldLayout">
        <pc:chgData name="Elias Theis" userId="a0f3eff05f862fa8" providerId="LiveId" clId="{89E28E08-4874-42D6-A139-39FD2AA6B99D}" dt="2024-10-27T09:12:43.051" v="765" actId="20577"/>
        <pc:sldMasterMkLst>
          <pc:docMk/>
          <pc:sldMasterMk cId="1020117872" sldId="2147483847"/>
        </pc:sldMasterMkLst>
        <pc:spChg chg="mod">
          <ac:chgData name="Elias Theis" userId="a0f3eff05f862fa8" providerId="LiveId" clId="{89E28E08-4874-42D6-A139-39FD2AA6B99D}" dt="2024-10-27T09:12:24.578" v="749" actId="20577"/>
          <ac:spMkLst>
            <pc:docMk/>
            <pc:sldMasterMk cId="1020117872" sldId="2147483847"/>
            <ac:spMk id="11" creationId="{CF1CB1D6-4593-3D47-C0F8-7FCECB1CD07B}"/>
          </ac:spMkLst>
        </pc:spChg>
        <pc:sldLayoutChg chg="modSp mod">
          <pc:chgData name="Elias Theis" userId="a0f3eff05f862fa8" providerId="LiveId" clId="{89E28E08-4874-42D6-A139-39FD2AA6B99D}" dt="2024-10-27T09:12:43.051" v="765" actId="20577"/>
          <pc:sldLayoutMkLst>
            <pc:docMk/>
            <pc:sldMasterMk cId="1020117872" sldId="2147483847"/>
            <pc:sldLayoutMk cId="3501767667" sldId="2147483854"/>
          </pc:sldLayoutMkLst>
          <pc:spChg chg="mod">
            <ac:chgData name="Elias Theis" userId="a0f3eff05f862fa8" providerId="LiveId" clId="{89E28E08-4874-42D6-A139-39FD2AA6B99D}" dt="2024-10-27T09:12:43.051" v="765" actId="20577"/>
            <ac:spMkLst>
              <pc:docMk/>
              <pc:sldMasterMk cId="1020117872" sldId="2147483847"/>
              <pc:sldLayoutMk cId="3501767667" sldId="2147483854"/>
              <ac:spMk id="3" creationId="{1CDEAB14-E243-9D6E-CDC6-BD1724B3436D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77FADF-6F91-4700-ADCF-C6A210CCAC3A}" type="datetimeFigureOut">
              <a:rPr lang="de-DE" smtClean="0"/>
              <a:pPr/>
              <a:t>29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D27AB-4923-45BF-B71A-4571650FE17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825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CE43A1-47CC-44BB-A150-350EA94E6F24}" type="datetimeFigureOut">
              <a:rPr lang="de-DE" smtClean="0"/>
              <a:pPr/>
              <a:t>29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A32CE-79EA-4318-80AF-4528CE357DD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95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CABBA67-ED3B-AF84-9864-1005477304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5229225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4625AAA-3214-414E-851B-A985E66B7A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" y="5160375"/>
            <a:ext cx="12192001" cy="1565036"/>
          </a:xfrm>
          <a:solidFill>
            <a:srgbClr val="FFFFFF">
              <a:alpha val="60000"/>
            </a:srgbClr>
          </a:solidFill>
        </p:spPr>
        <p:txBody>
          <a:bodyPr wrap="square" lIns="324000" tIns="360000" bIns="720000" anchor="b">
            <a:spAutoFit/>
          </a:bodyPr>
          <a:lstStyle>
            <a:lvl1pPr algn="l">
              <a:lnSpc>
                <a:spcPts val="3733"/>
              </a:lnSpc>
              <a:defRPr lang="de-DE" sz="3200" b="0" kern="1200" dirty="0">
                <a:solidFill>
                  <a:schemeClr val="tx1"/>
                </a:solidFill>
                <a:latin typeface="+mj-lt"/>
                <a:ea typeface="ＭＳ Ｐゴシック" charset="-128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FCDE9E7C-7DC9-4C0F-AC45-4AB8AADB69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" y="6291219"/>
            <a:ext cx="12192001" cy="480819"/>
          </a:xfrm>
          <a:prstGeom prst="rect">
            <a:avLst/>
          </a:prstGeom>
          <a:noFill/>
        </p:spPr>
        <p:txBody>
          <a:bodyPr wrap="square" lIns="324000" bIns="144000" anchor="ctr">
            <a:sp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uppertal, TT.MM.JJJJ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16EC9C6-7359-9735-4E40-A828E121A7B8}"/>
              </a:ext>
            </a:extLst>
          </p:cNvPr>
          <p:cNvGrpSpPr/>
          <p:nvPr userDrawn="1"/>
        </p:nvGrpSpPr>
        <p:grpSpPr>
          <a:xfrm>
            <a:off x="7453045" y="503453"/>
            <a:ext cx="4403595" cy="744662"/>
            <a:chOff x="7453045" y="503453"/>
            <a:chExt cx="4403595" cy="744662"/>
          </a:xfrm>
        </p:grpSpPr>
        <p:pic>
          <p:nvPicPr>
            <p:cNvPr id="2" name="Picture 2" descr="Bildergebnis fÃ¼r BUW logo">
              <a:extLst>
                <a:ext uri="{FF2B5EF4-FFF2-40B4-BE49-F238E27FC236}">
                  <a16:creationId xmlns:a16="http://schemas.microsoft.com/office/drawing/2014/main" id="{1A8D2FFE-690D-3763-E7C2-3F773D7F77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0127" y="503453"/>
              <a:ext cx="2486513" cy="744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B8BFF1BB-3604-C983-FDA5-E9766910D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53045" y="503453"/>
              <a:ext cx="1646578" cy="744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9334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_dark">
    <p:bg>
      <p:bgPr>
        <a:solidFill>
          <a:srgbClr val="042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EACE47F-B023-510E-3C69-4D579AEF0F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54400" y="230400"/>
            <a:ext cx="861021" cy="389395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E7DA43D-E668-88BD-9784-AD511859D9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1125538"/>
            <a:ext cx="11522075" cy="5183187"/>
          </a:xfrm>
        </p:spPr>
        <p:txBody>
          <a:bodyPr lIns="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140B1FF-F314-9529-7041-2D3290A3F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5B3DBA90-4D1F-BF05-2993-EB3DF65BA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560418"/>
            <a:ext cx="8640960" cy="288925"/>
          </a:xfrm>
          <a:prstGeom prst="rect">
            <a:avLst/>
          </a:prstGeom>
        </p:spPr>
        <p:txBody>
          <a:bodyPr lIns="0" rIns="0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D105234-518B-01BB-A9BA-FE446BE9C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36525"/>
            <a:ext cx="8640959" cy="4127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5">
            <a:extLst>
              <a:ext uri="{FF2B5EF4-FFF2-40B4-BE49-F238E27FC236}">
                <a16:creationId xmlns:a16="http://schemas.microsoft.com/office/drawing/2014/main" id="{1CDEAB14-E243-9D6E-CDC6-BD1724B3436D}"/>
              </a:ext>
            </a:extLst>
          </p:cNvPr>
          <p:cNvSpPr txBox="1">
            <a:spLocks/>
          </p:cNvSpPr>
          <p:nvPr userDrawn="1"/>
        </p:nvSpPr>
        <p:spPr>
          <a:xfrm>
            <a:off x="343361" y="6533399"/>
            <a:ext cx="11081230" cy="1800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dirty="0">
                <a:solidFill>
                  <a:schemeClr val="bg1"/>
                </a:solidFill>
              </a:rPr>
              <a:t>© </a:t>
            </a:r>
            <a:r>
              <a:rPr lang="en-US" sz="900" b="0" dirty="0">
                <a:solidFill>
                  <a:schemeClr val="bg1"/>
                </a:solidFill>
              </a:rPr>
              <a:t>Institute for Technologies and Management of Digital Transformation, University of Wuppertal | Selected Topics in Data Science</a:t>
            </a:r>
            <a:r>
              <a:rPr lang="de-DE" sz="900" b="0" dirty="0">
                <a:solidFill>
                  <a:schemeClr val="bg1"/>
                </a:solidFill>
              </a:rPr>
              <a:t> | Elias Theis | Wuppertal, 29.10.2024</a:t>
            </a:r>
            <a:endParaRPr lang="en-US" sz="900" b="0" dirty="0">
              <a:solidFill>
                <a:schemeClr val="bg1"/>
              </a:solidFill>
            </a:endParaRPr>
          </a:p>
        </p:txBody>
      </p:sp>
      <p:pic>
        <p:nvPicPr>
          <p:cNvPr id="15" name="Picture 2" descr="Bildergebnis fÃ¼r BUW logo">
            <a:extLst>
              <a:ext uri="{FF2B5EF4-FFF2-40B4-BE49-F238E27FC236}">
                <a16:creationId xmlns:a16="http://schemas.microsoft.com/office/drawing/2014/main" id="{9B9F1864-806A-6CE9-64F1-7DEB14532B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400" y="230400"/>
            <a:ext cx="1300236" cy="38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99563B91-4B43-298E-2D92-117A3B552324}"/>
              </a:ext>
            </a:extLst>
          </p:cNvPr>
          <p:cNvSpPr/>
          <p:nvPr userDrawn="1"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767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_blank_dark">
    <p:bg>
      <p:bgPr>
        <a:solidFill>
          <a:srgbClr val="042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C4DBDD2-C195-5F00-CA39-B0F2E9882A37}"/>
              </a:ext>
            </a:extLst>
          </p:cNvPr>
          <p:cNvSpPr/>
          <p:nvPr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501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FDC809-41E2-E9B0-42B2-ED8224F076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7F519F-CD09-4BED-0CC8-7C329CFA6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716338"/>
            <a:ext cx="12192000" cy="3141662"/>
          </a:xfrm>
          <a:solidFill>
            <a:schemeClr val="bg1">
              <a:alpha val="60000"/>
            </a:schemeClr>
          </a:solidFill>
        </p:spPr>
        <p:txBody>
          <a:bodyPr lIns="324000" tIns="180000">
            <a:normAutofit/>
          </a:bodyPr>
          <a:lstStyle>
            <a:lvl1pPr>
              <a:defRPr sz="1600"/>
            </a:lvl1pPr>
          </a:lstStyle>
          <a:p>
            <a:pPr lvl="0"/>
            <a:endParaRPr lang="en-US" dirty="0"/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29E87EF4-70CB-84B7-B9A7-035A5DB3EAC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067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689FFA3-096B-B020-856D-BF1BF922C6E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" y="4798020"/>
            <a:ext cx="12192000" cy="1511300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en-US" dirty="0" err="1"/>
              <a:t>Zwischentitel</a:t>
            </a:r>
            <a:endParaRPr lang="en-US" dirty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DE28C393-A097-692B-8BC5-5823EF3F926B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1182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5FB5FBD-68D9-A039-9FCB-4366E74D32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98020"/>
            <a:ext cx="12192001" cy="744662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de-DE" dirty="0"/>
              <a:t>Vielen Dank für Ihre Aufmerksamkeit</a:t>
            </a:r>
            <a:endParaRPr lang="en-US" dirty="0"/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FEAA260D-84CE-B1F8-FB40-28E3550A0A92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88390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309D2B1-4C0B-1355-E901-5D9261A3F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754C6A1-2BD7-72A5-2E2F-C80BAAC6D9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549275"/>
            <a:ext cx="8964612" cy="287437"/>
          </a:xfrm>
        </p:spPr>
        <p:txBody>
          <a:bodyPr/>
          <a:lstStyle>
            <a:lvl1pPr>
              <a:defRPr sz="1600"/>
            </a:lvl1pPr>
            <a:lvl2pPr marL="0" indent="0">
              <a:buNone/>
              <a:defRPr/>
            </a:lvl2pPr>
            <a:lvl3pPr marL="311400" indent="0">
              <a:buNone/>
              <a:defRPr/>
            </a:lvl3pPr>
            <a:lvl4pPr marL="563400" indent="0">
              <a:buNone/>
              <a:defRPr/>
            </a:lvl4pPr>
            <a:lvl5pPr marL="8154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1FC5478-B183-D255-B845-9AC505DDD9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8"/>
            <a:ext cx="11522075" cy="5183187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EABE4EC-396D-F850-0888-82EF017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171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LE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1FC5478-B183-D255-B845-9AC505DDD9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8"/>
            <a:ext cx="11522075" cy="518318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EABE4EC-396D-F850-0888-82EF017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platzhalter 3">
            <a:extLst>
              <a:ext uri="{FF2B5EF4-FFF2-40B4-BE49-F238E27FC236}">
                <a16:creationId xmlns:a16="http://schemas.microsoft.com/office/drawing/2014/main" id="{EC544CB1-2386-5B67-0AFA-024F9E0FD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423962"/>
            <a:ext cx="8964000" cy="4127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A6DF9AC-B9DD-7544-0DE8-BB84108D35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44000"/>
            <a:ext cx="8964612" cy="234950"/>
          </a:xfrm>
        </p:spPr>
        <p:txBody>
          <a:bodyPr tIns="46800" bIns="46800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287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EFE50AC-452E-854B-2AF1-23563F4902F1}"/>
              </a:ext>
            </a:extLst>
          </p:cNvPr>
          <p:cNvSpPr/>
          <p:nvPr userDrawn="1"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28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FDC809-41E2-E9B0-42B2-ED8224F076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7F519F-CD09-4BED-0CC8-7C329CFA6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716338"/>
            <a:ext cx="12192000" cy="3141662"/>
          </a:xfrm>
          <a:solidFill>
            <a:schemeClr val="bg1">
              <a:alpha val="60000"/>
            </a:schemeClr>
          </a:solidFill>
        </p:spPr>
        <p:txBody>
          <a:bodyPr lIns="324000" tIns="180000">
            <a:normAutofit/>
          </a:bodyPr>
          <a:lstStyle>
            <a:lvl1pPr>
              <a:defRPr sz="1600"/>
            </a:lvl1pPr>
          </a:lstStyle>
          <a:p>
            <a:pPr lvl="0"/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17525B-1EAB-C50B-00A6-11F739A5892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26057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689FFA3-096B-B020-856D-BF1BF922C6E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" y="4798020"/>
            <a:ext cx="12192000" cy="1511300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en-US" dirty="0" err="1"/>
              <a:t>Zwischentitel</a:t>
            </a:r>
            <a:endParaRPr lang="en-US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EA26BCFA-1CE8-7BD7-C622-66734A2D1667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57087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5FB5FBD-68D9-A039-9FCB-4366E74D32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98020"/>
            <a:ext cx="12192001" cy="744662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de-DE" dirty="0"/>
              <a:t>Vielen Dank für Ihre Aufmerksamkeit</a:t>
            </a:r>
            <a:endParaRPr lang="en-US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49B2544C-7E44-21F8-E85B-0F703DB20CB1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82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B67CB36-7CEB-8A5E-8785-4C45B29C8340}"/>
              </a:ext>
            </a:extLst>
          </p:cNvPr>
          <p:cNvSpPr/>
          <p:nvPr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0ECADE43-028A-B258-98F2-38219C16C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16632"/>
            <a:ext cx="8964000" cy="4127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7210506-4A61-81DA-8B72-B1AFCA180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91" y="6525344"/>
            <a:ext cx="424047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6119608-AE5D-AE9F-D32A-306ED993E6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125538"/>
            <a:ext cx="11522075" cy="5183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CF1CB1D6-4593-3D47-C0F8-7FCECB1CD07B}"/>
              </a:ext>
            </a:extLst>
          </p:cNvPr>
          <p:cNvSpPr txBox="1">
            <a:spLocks/>
          </p:cNvSpPr>
          <p:nvPr/>
        </p:nvSpPr>
        <p:spPr>
          <a:xfrm>
            <a:off x="343361" y="6533399"/>
            <a:ext cx="11081230" cy="1800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© </a:t>
            </a:r>
            <a:r>
              <a:rPr lang="en-US" sz="900" b="0" dirty="0">
                <a:solidFill>
                  <a:schemeClr val="tx1"/>
                </a:solidFill>
              </a:rPr>
              <a:t>Institute for Technologies and Management of Digital Transformation, University of Wuppertal | Selected Topics in Data Science</a:t>
            </a:r>
            <a:r>
              <a:rPr lang="de-DE" sz="900" b="0" dirty="0">
                <a:solidFill>
                  <a:schemeClr val="tx1"/>
                </a:solidFill>
              </a:rPr>
              <a:t> | Elias Theis | Wuppertal, 29.10.2024</a:t>
            </a:r>
            <a:endParaRPr lang="en-US" sz="900" b="0" dirty="0">
              <a:solidFill>
                <a:schemeClr val="tx1"/>
              </a:solidFill>
            </a:endParaRPr>
          </a:p>
        </p:txBody>
      </p:sp>
      <p:pic>
        <p:nvPicPr>
          <p:cNvPr id="2" name="Picture 2" descr="Bildergebnis fÃ¼r BUW logo">
            <a:extLst>
              <a:ext uri="{FF2B5EF4-FFF2-40B4-BE49-F238E27FC236}">
                <a16:creationId xmlns:a16="http://schemas.microsoft.com/office/drawing/2014/main" id="{12B2845D-B8EE-4E3B-3751-5D21D569D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400" y="231293"/>
            <a:ext cx="1300236" cy="38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77DACA5-DD8E-1F72-DF59-D7DC6298FAD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52770" y="231293"/>
            <a:ext cx="861021" cy="38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11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64" r:id="rId2"/>
    <p:sldLayoutId id="2147483865" r:id="rId3"/>
    <p:sldLayoutId id="2147483859" r:id="rId4"/>
    <p:sldLayoutId id="2147483880" r:id="rId5"/>
    <p:sldLayoutId id="2147483863" r:id="rId6"/>
    <p:sldLayoutId id="2147483860" r:id="rId7"/>
    <p:sldLayoutId id="2147483861" r:id="rId8"/>
    <p:sldLayoutId id="2147483851" r:id="rId9"/>
    <p:sldLayoutId id="2147483854" r:id="rId10"/>
    <p:sldLayoutId id="2147483853" r:id="rId11"/>
    <p:sldLayoutId id="2147483866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2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orient="horz" pos="709" userDrawn="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2341">
          <p15:clr>
            <a:srgbClr val="F26B43"/>
          </p15:clr>
        </p15:guide>
        <p15:guide id="9" orient="horz" pos="346">
          <p15:clr>
            <a:srgbClr val="F26B43"/>
          </p15:clr>
        </p15:guide>
        <p15:guide id="11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DE62C448-B3C0-7D37-FE0C-1101A7596E7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DFB4A46-700A-903A-DBEF-EDBCF9FA08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" y="5349383"/>
            <a:ext cx="12192001" cy="1376028"/>
          </a:xfrm>
        </p:spPr>
        <p:txBody>
          <a:bodyPr tIns="216000"/>
          <a:lstStyle/>
          <a:p>
            <a:pPr>
              <a:lnSpc>
                <a:spcPct val="100000"/>
              </a:lnSpc>
            </a:pPr>
            <a:r>
              <a:rPr lang="en-US" sz="2800" dirty="0"/>
              <a:t>Data Analysis to Protect Against Climate-Driven Extremes</a:t>
            </a:r>
            <a:endParaRPr lang="de-DE" sz="2800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C94AE00C-6A0F-72DB-8398-F4B33958BF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2" y="6305037"/>
            <a:ext cx="12192001" cy="453183"/>
          </a:xfrm>
        </p:spPr>
        <p:txBody>
          <a:bodyPr/>
          <a:lstStyle/>
          <a:p>
            <a:r>
              <a:rPr lang="en-US" dirty="0"/>
              <a:t>Wuppertal, 29.10.2024</a:t>
            </a:r>
          </a:p>
        </p:txBody>
      </p:sp>
    </p:spTree>
    <p:extLst>
      <p:ext uri="{BB962C8B-B14F-4D97-AF65-F5344CB8AC3E}">
        <p14:creationId xmlns:p14="http://schemas.microsoft.com/office/powerpoint/2010/main" val="2533893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62E0E10A-E7D4-2146-6507-84B67675C97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" b="19"/>
          <a:stretch/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874668-6B27-1A8A-A660-B89D6FC05B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Bergische</a:t>
            </a:r>
            <a:r>
              <a:rPr lang="en-US" dirty="0"/>
              <a:t> Universität Wuppertal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Lehrstuhl</a:t>
            </a:r>
            <a:r>
              <a:rPr lang="en-US" dirty="0"/>
              <a:t> für </a:t>
            </a:r>
            <a:r>
              <a:rPr lang="en-US" dirty="0" err="1"/>
              <a:t>Technologien</a:t>
            </a:r>
            <a:r>
              <a:rPr lang="en-US" dirty="0"/>
              <a:t> und Management der </a:t>
            </a:r>
            <a:r>
              <a:rPr lang="en-US" dirty="0" err="1"/>
              <a:t>Digitalen</a:t>
            </a:r>
            <a:r>
              <a:rPr lang="en-US" dirty="0"/>
              <a:t> Transformation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Gebäude</a:t>
            </a:r>
            <a:r>
              <a:rPr lang="en-US" dirty="0"/>
              <a:t> FZ (</a:t>
            </a:r>
            <a:r>
              <a:rPr lang="en-US" dirty="0" err="1"/>
              <a:t>Technologiezentrum</a:t>
            </a:r>
            <a:r>
              <a:rPr lang="en-US" dirty="0"/>
              <a:t> Wuppertal, W-tec)</a:t>
            </a:r>
            <a:br>
              <a:rPr lang="en-US" dirty="0"/>
            </a:br>
            <a:r>
              <a:rPr lang="en-US" dirty="0"/>
              <a:t>Lise-Meitner-</a:t>
            </a:r>
            <a:r>
              <a:rPr lang="en-US" dirty="0" err="1"/>
              <a:t>Straße</a:t>
            </a:r>
            <a:r>
              <a:rPr lang="en-US" dirty="0"/>
              <a:t> 27</a:t>
            </a:r>
            <a:br>
              <a:rPr lang="en-US" dirty="0"/>
            </a:br>
            <a:r>
              <a:rPr lang="en-US" dirty="0"/>
              <a:t>42119 Wuppertal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Telefon</a:t>
            </a:r>
            <a:r>
              <a:rPr lang="en-US" dirty="0"/>
              <a:t> 	+49 202 439-1043</a:t>
            </a:r>
            <a:br>
              <a:rPr lang="en-US" dirty="0"/>
            </a:br>
            <a:r>
              <a:rPr lang="en-US" dirty="0" err="1"/>
              <a:t>Postfach</a:t>
            </a:r>
            <a:r>
              <a:rPr lang="en-US" dirty="0"/>
              <a:t> 	42097 Wuppertal</a:t>
            </a:r>
            <a:br>
              <a:rPr lang="en-US" dirty="0"/>
            </a:br>
            <a:r>
              <a:rPr lang="en-US" dirty="0"/>
              <a:t>Internet 	www.tmdt.uni-wuppertal.d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689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A5C7A559-31E2-F1BD-C637-8EACB4495F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9456" y="1750371"/>
            <a:ext cx="6264696" cy="489063"/>
          </a:xfrm>
        </p:spPr>
        <p:txBody>
          <a:bodyPr anchor="ctr"/>
          <a:lstStyle/>
          <a:p>
            <a:r>
              <a:rPr lang="en-US" dirty="0"/>
              <a:t>Preprocessed Precipitation Radar Data</a:t>
            </a:r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33A7D1AD-B81A-20AB-7E27-C356E7964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set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50C23DCC-BA82-721D-7713-61F7DC86C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2B696FC-05AA-94EF-9554-6D184DA3C62D}"/>
              </a:ext>
            </a:extLst>
          </p:cNvPr>
          <p:cNvSpPr txBox="1"/>
          <p:nvPr/>
        </p:nvSpPr>
        <p:spPr>
          <a:xfrm>
            <a:off x="4295800" y="2060848"/>
            <a:ext cx="1296144" cy="72008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algn="l"/>
            <a:endParaRPr lang="en-US" dirty="0" err="1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351291-FAF4-34F9-3C85-3160101BCC2A}"/>
              </a:ext>
            </a:extLst>
          </p:cNvPr>
          <p:cNvGrpSpPr/>
          <p:nvPr/>
        </p:nvGrpSpPr>
        <p:grpSpPr>
          <a:xfrm>
            <a:off x="2872748" y="3812283"/>
            <a:ext cx="2232248" cy="864093"/>
            <a:chOff x="1415480" y="5445224"/>
            <a:chExt cx="2232248" cy="864093"/>
          </a:xfrm>
        </p:grpSpPr>
        <p:cxnSp>
          <p:nvCxnSpPr>
            <p:cNvPr id="3" name="Gerade Verbindung mit Pfeil 2">
              <a:extLst>
                <a:ext uri="{FF2B5EF4-FFF2-40B4-BE49-F238E27FC236}">
                  <a16:creationId xmlns:a16="http://schemas.microsoft.com/office/drawing/2014/main" id="{E9D0F3F8-C795-8482-3DD1-62FC602D2A2E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5517232"/>
              <a:ext cx="2232248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A0D3FE-AD32-1A36-51A7-BA4CB2932574}"/>
                </a:ext>
              </a:extLst>
            </p:cNvPr>
            <p:cNvCxnSpPr/>
            <p:nvPr/>
          </p:nvCxnSpPr>
          <p:spPr>
            <a:xfrm>
              <a:off x="1847527" y="5445224"/>
              <a:ext cx="0" cy="14401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9D8357C1-4B3F-C58E-B754-F8041240EB15}"/>
                </a:ext>
              </a:extLst>
            </p:cNvPr>
            <p:cNvCxnSpPr/>
            <p:nvPr/>
          </p:nvCxnSpPr>
          <p:spPr>
            <a:xfrm>
              <a:off x="2999656" y="5445224"/>
              <a:ext cx="0" cy="14401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A644BD9-1148-8A67-BC77-B0BFBC077F66}"/>
                </a:ext>
              </a:extLst>
            </p:cNvPr>
            <p:cNvSpPr txBox="1"/>
            <p:nvPr/>
          </p:nvSpPr>
          <p:spPr>
            <a:xfrm>
              <a:off x="1559496" y="5589240"/>
              <a:ext cx="576064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2006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D13141BF-A3DD-3A43-643B-C49EB33875ED}"/>
                </a:ext>
              </a:extLst>
            </p:cNvPr>
            <p:cNvSpPr txBox="1"/>
            <p:nvPr/>
          </p:nvSpPr>
          <p:spPr>
            <a:xfrm>
              <a:off x="2711624" y="5597625"/>
              <a:ext cx="576064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2023</a:t>
              </a:r>
            </a:p>
          </p:txBody>
        </p:sp>
        <p:sp>
          <p:nvSpPr>
            <p:cNvPr id="32" name="Geschweifte Klammer rechts 31">
              <a:extLst>
                <a:ext uri="{FF2B5EF4-FFF2-40B4-BE49-F238E27FC236}">
                  <a16:creationId xmlns:a16="http://schemas.microsoft.com/office/drawing/2014/main" id="{E497AFE9-C763-7BC3-632F-DEE2BBBDBCCE}"/>
                </a:ext>
              </a:extLst>
            </p:cNvPr>
            <p:cNvSpPr/>
            <p:nvPr/>
          </p:nvSpPr>
          <p:spPr>
            <a:xfrm rot="5400000">
              <a:off x="2315580" y="4977172"/>
              <a:ext cx="216024" cy="1872208"/>
            </a:xfrm>
            <a:prstGeom prst="rightBrace">
              <a:avLst>
                <a:gd name="adj1" fmla="val 55975"/>
                <a:gd name="adj2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B7178E26-FA75-3AD7-445C-CBFB04102B62}"/>
                </a:ext>
              </a:extLst>
            </p:cNvPr>
            <p:cNvSpPr txBox="1"/>
            <p:nvPr/>
          </p:nvSpPr>
          <p:spPr>
            <a:xfrm>
              <a:off x="1919536" y="6021288"/>
              <a:ext cx="1008112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18 years</a:t>
              </a:r>
            </a:p>
          </p:txBody>
        </p:sp>
      </p:grpSp>
      <p:pic>
        <p:nvPicPr>
          <p:cNvPr id="38" name="Grafik 37" descr="Regen mit einfarbiger Füllung">
            <a:extLst>
              <a:ext uri="{FF2B5EF4-FFF2-40B4-BE49-F238E27FC236}">
                <a16:creationId xmlns:a16="http://schemas.microsoft.com/office/drawing/2014/main" id="{8A1715F2-74C1-77A6-E663-1FA7A904C5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996" y="1750371"/>
            <a:ext cx="489063" cy="489063"/>
          </a:xfrm>
          <a:prstGeom prst="rect">
            <a:avLst/>
          </a:prstGeom>
        </p:spPr>
      </p:pic>
      <p:pic>
        <p:nvPicPr>
          <p:cNvPr id="45" name="Grafik 44" descr="Datenbank mit einfarbiger Füllung">
            <a:extLst>
              <a:ext uri="{FF2B5EF4-FFF2-40B4-BE49-F238E27FC236}">
                <a16:creationId xmlns:a16="http://schemas.microsoft.com/office/drawing/2014/main" id="{735F76BF-0BE3-C2B9-8162-AE2127643E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994" y="2274630"/>
            <a:ext cx="489063" cy="489063"/>
          </a:xfrm>
          <a:prstGeom prst="rect">
            <a:avLst/>
          </a:prstGeom>
        </p:spPr>
      </p:pic>
      <p:sp>
        <p:nvSpPr>
          <p:cNvPr id="46" name="Textplatzhalter 27">
            <a:extLst>
              <a:ext uri="{FF2B5EF4-FFF2-40B4-BE49-F238E27FC236}">
                <a16:creationId xmlns:a16="http://schemas.microsoft.com/office/drawing/2014/main" id="{88AFE959-C72B-D3BE-832C-2DFCEF4D608D}"/>
              </a:ext>
            </a:extLst>
          </p:cNvPr>
          <p:cNvSpPr txBox="1">
            <a:spLocks/>
          </p:cNvSpPr>
          <p:nvPr/>
        </p:nvSpPr>
        <p:spPr>
          <a:xfrm>
            <a:off x="1199456" y="2298765"/>
            <a:ext cx="5688632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uge Dataset: 9GB compressed, 344GB </a:t>
            </a:r>
            <a:r>
              <a:rPr lang="en-US" dirty="0" err="1"/>
              <a:t>uncomp</a:t>
            </a:r>
            <a:r>
              <a:rPr lang="en-US" dirty="0"/>
              <a:t>.</a:t>
            </a:r>
          </a:p>
        </p:txBody>
      </p:sp>
      <p:pic>
        <p:nvPicPr>
          <p:cNvPr id="48" name="Grafik 47" descr="Uhr mit einfarbiger Füllung">
            <a:extLst>
              <a:ext uri="{FF2B5EF4-FFF2-40B4-BE49-F238E27FC236}">
                <a16:creationId xmlns:a16="http://schemas.microsoft.com/office/drawing/2014/main" id="{F7DF9C2D-2F15-74EE-DA54-5B593571E8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992" y="2900738"/>
            <a:ext cx="489063" cy="489063"/>
          </a:xfrm>
          <a:prstGeom prst="rect">
            <a:avLst/>
          </a:prstGeom>
        </p:spPr>
      </p:pic>
      <p:sp>
        <p:nvSpPr>
          <p:cNvPr id="49" name="Textplatzhalter 27">
            <a:extLst>
              <a:ext uri="{FF2B5EF4-FFF2-40B4-BE49-F238E27FC236}">
                <a16:creationId xmlns:a16="http://schemas.microsoft.com/office/drawing/2014/main" id="{BD5A8734-8965-D2BF-DBA1-168386B3B033}"/>
              </a:ext>
            </a:extLst>
          </p:cNvPr>
          <p:cNvSpPr txBox="1">
            <a:spLocks/>
          </p:cNvSpPr>
          <p:nvPr/>
        </p:nvSpPr>
        <p:spPr>
          <a:xfrm>
            <a:off x="1199456" y="2924944"/>
            <a:ext cx="5400600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cording Interval: 10 minutes, hourly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78F36255-F353-9F9F-D08D-41D44EDAF5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80606" y="1499417"/>
            <a:ext cx="4362731" cy="4100717"/>
          </a:xfrm>
          <a:prstGeom prst="rect">
            <a:avLst/>
          </a:prstGeom>
        </p:spPr>
      </p:pic>
      <p:pic>
        <p:nvPicPr>
          <p:cNvPr id="53" name="Grafik 52" descr="Tageskalender mit einfarbiger Füllung">
            <a:extLst>
              <a:ext uri="{FF2B5EF4-FFF2-40B4-BE49-F238E27FC236}">
                <a16:creationId xmlns:a16="http://schemas.microsoft.com/office/drawing/2014/main" id="{43C0358A-6AAA-D7F9-883C-7A437E3A13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2996" y="3583956"/>
            <a:ext cx="489063" cy="489063"/>
          </a:xfrm>
          <a:prstGeom prst="rect">
            <a:avLst/>
          </a:prstGeom>
        </p:spPr>
      </p:pic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F5537504-02FB-5493-0AF7-C63D83F53EFF}"/>
              </a:ext>
            </a:extLst>
          </p:cNvPr>
          <p:cNvSpPr txBox="1">
            <a:spLocks/>
          </p:cNvSpPr>
          <p:nvPr/>
        </p:nvSpPr>
        <p:spPr>
          <a:xfrm>
            <a:off x="1199456" y="3600309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ime Range:</a:t>
            </a:r>
          </a:p>
        </p:txBody>
      </p:sp>
      <p:sp>
        <p:nvSpPr>
          <p:cNvPr id="57" name="Foliennummernplatzhalter 56">
            <a:extLst>
              <a:ext uri="{FF2B5EF4-FFF2-40B4-BE49-F238E27FC236}">
                <a16:creationId xmlns:a16="http://schemas.microsoft.com/office/drawing/2014/main" id="{03848ED5-304E-4508-5D62-0BE2082B4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0775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0A18FB7-4146-F4F4-CC98-5AABAA3D2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exemplary Anim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719678-7595-8549-62EE-C119398EF0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 descr="Ein Bild, das Text, Karte, Diagramm, Screenshot enthält.&#10;&#10;Automatisch generierte Beschreibung">
            <a:extLst>
              <a:ext uri="{FF2B5EF4-FFF2-40B4-BE49-F238E27FC236}">
                <a16:creationId xmlns:a16="http://schemas.microsoft.com/office/drawing/2014/main" id="{147364EF-BCED-6136-5359-1C19DC793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890718"/>
            <a:ext cx="7056784" cy="5292588"/>
          </a:xfrm>
          <a:prstGeom prst="rect">
            <a:avLst/>
          </a:prstGeo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380519B-ABA9-5791-4E0E-1D24FEA63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2759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BF77C7-66CC-E193-8B7E-870A0F200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next Steps of the Data Analysi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4AC29E-EB5E-CECF-AAFF-166A79F751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27">
            <a:extLst>
              <a:ext uri="{FF2B5EF4-FFF2-40B4-BE49-F238E27FC236}">
                <a16:creationId xmlns:a16="http://schemas.microsoft.com/office/drawing/2014/main" id="{B8BDFB5A-2BF9-53B2-B588-771EECE74723}"/>
              </a:ext>
            </a:extLst>
          </p:cNvPr>
          <p:cNvSpPr txBox="1">
            <a:spLocks/>
          </p:cNvSpPr>
          <p:nvPr/>
        </p:nvSpPr>
        <p:spPr>
          <a:xfrm>
            <a:off x="2135956" y="1409421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ng-term Climate Trends and seasonal Trends</a:t>
            </a:r>
          </a:p>
        </p:txBody>
      </p:sp>
      <p:pic>
        <p:nvPicPr>
          <p:cNvPr id="6" name="Grafik 5" descr="Aufwärtstrend mit einfarbiger Füllung">
            <a:extLst>
              <a:ext uri="{FF2B5EF4-FFF2-40B4-BE49-F238E27FC236}">
                <a16:creationId xmlns:a16="http://schemas.microsoft.com/office/drawing/2014/main" id="{7532715D-8248-75DC-7B0B-D5FC8612B0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448" y="1196752"/>
            <a:ext cx="914400" cy="914400"/>
          </a:xfrm>
          <a:prstGeom prst="rect">
            <a:avLst/>
          </a:prstGeom>
        </p:spPr>
      </p:pic>
      <p:sp>
        <p:nvSpPr>
          <p:cNvPr id="7" name="Textplatzhalter 27">
            <a:extLst>
              <a:ext uri="{FF2B5EF4-FFF2-40B4-BE49-F238E27FC236}">
                <a16:creationId xmlns:a16="http://schemas.microsoft.com/office/drawing/2014/main" id="{6398EF6F-67C3-3D11-E29C-C92764EA943E}"/>
              </a:ext>
            </a:extLst>
          </p:cNvPr>
          <p:cNvSpPr txBox="1">
            <a:spLocks/>
          </p:cNvSpPr>
          <p:nvPr/>
        </p:nvSpPr>
        <p:spPr>
          <a:xfrm>
            <a:off x="2135560" y="2439237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Weather Extremes</a:t>
            </a:r>
          </a:p>
        </p:txBody>
      </p:sp>
      <p:pic>
        <p:nvPicPr>
          <p:cNvPr id="8" name="Grafik 7" descr="Blitz mit einfarbiger Füllung">
            <a:extLst>
              <a:ext uri="{FF2B5EF4-FFF2-40B4-BE49-F238E27FC236}">
                <a16:creationId xmlns:a16="http://schemas.microsoft.com/office/drawing/2014/main" id="{105132F8-216C-620F-1110-F0AD2B5C7E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7448" y="2226568"/>
            <a:ext cx="914400" cy="914400"/>
          </a:xfrm>
          <a:prstGeom prst="rect">
            <a:avLst/>
          </a:prstGeom>
        </p:spPr>
      </p:pic>
      <p:sp>
        <p:nvSpPr>
          <p:cNvPr id="9" name="Textplatzhalter 27">
            <a:extLst>
              <a:ext uri="{FF2B5EF4-FFF2-40B4-BE49-F238E27FC236}">
                <a16:creationId xmlns:a16="http://schemas.microsoft.com/office/drawing/2014/main" id="{B958C50C-2DED-BD6E-C730-D140C2A6A9A9}"/>
              </a:ext>
            </a:extLst>
          </p:cNvPr>
          <p:cNvSpPr txBox="1">
            <a:spLocks/>
          </p:cNvSpPr>
          <p:nvPr/>
        </p:nvSpPr>
        <p:spPr>
          <a:xfrm>
            <a:off x="2135560" y="3504364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dicting extreme Weather Events</a:t>
            </a:r>
          </a:p>
        </p:txBody>
      </p:sp>
      <p:pic>
        <p:nvPicPr>
          <p:cNvPr id="10" name="Grafik 9" descr="Balkendiagramm mit Aufwärtstrend mit einfarbiger Füllung">
            <a:extLst>
              <a:ext uri="{FF2B5EF4-FFF2-40B4-BE49-F238E27FC236}">
                <a16:creationId xmlns:a16="http://schemas.microsoft.com/office/drawing/2014/main" id="{B5038118-80A0-7C8C-B5CD-9D92E16752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7447" y="3306688"/>
            <a:ext cx="914400" cy="914400"/>
          </a:xfrm>
          <a:prstGeom prst="rect">
            <a:avLst/>
          </a:prstGeom>
        </p:spPr>
      </p:pic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B57EE7A-6A4A-61A8-BC7F-3C3870E9D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7408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9740BD6-EFF2-DFEB-5321-348A39EB2D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424" y="2348880"/>
            <a:ext cx="10009112" cy="381642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Changes in precipitation</a:t>
            </a:r>
            <a:r>
              <a:rPr lang="en-US" dirty="0"/>
              <a:t>: has the average amount of precipitation increased or decreased over the entire period? Are there clear trends in certain seasons or months?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Change in precipitation intensity</a:t>
            </a:r>
            <a:r>
              <a:rPr lang="en-US" dirty="0"/>
              <a:t>: Have heavy rainfall events become more frequent or more intense?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Shift in the rainy seasons</a:t>
            </a:r>
            <a:r>
              <a:rPr lang="en-US" dirty="0"/>
              <a:t>: Have the typical rainy seasons shifted? Have they become longer or shorter?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Changes in precipitation patterns</a:t>
            </a:r>
            <a:r>
              <a:rPr lang="en-US" dirty="0"/>
              <a:t>: Have spatial patterns in precipitation changed? Are there regions that receive more or less precipitation?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8342BD6-42A2-CAA5-54C4-B9303F16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ep 1: Basic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7D5D7D5-659A-E216-2F62-BF878041F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sp>
        <p:nvSpPr>
          <p:cNvPr id="5" name="Textplatzhalter 27">
            <a:extLst>
              <a:ext uri="{FF2B5EF4-FFF2-40B4-BE49-F238E27FC236}">
                <a16:creationId xmlns:a16="http://schemas.microsoft.com/office/drawing/2014/main" id="{B40BDC05-2E81-232D-7100-80227DB9878D}"/>
              </a:ext>
            </a:extLst>
          </p:cNvPr>
          <p:cNvSpPr txBox="1">
            <a:spLocks/>
          </p:cNvSpPr>
          <p:nvPr/>
        </p:nvSpPr>
        <p:spPr>
          <a:xfrm>
            <a:off x="2135956" y="1409421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ng-term Climate Trends and Seasonal Trends</a:t>
            </a:r>
          </a:p>
        </p:txBody>
      </p:sp>
      <p:pic>
        <p:nvPicPr>
          <p:cNvPr id="10" name="Grafik 9" descr="Aufwärtstrend mit einfarbiger Füllung">
            <a:extLst>
              <a:ext uri="{FF2B5EF4-FFF2-40B4-BE49-F238E27FC236}">
                <a16:creationId xmlns:a16="http://schemas.microsoft.com/office/drawing/2014/main" id="{7967D485-D44C-16E9-5C05-1024E6BBE9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448" y="1196752"/>
            <a:ext cx="914400" cy="914400"/>
          </a:xfrm>
          <a:prstGeom prst="rect">
            <a:avLst/>
          </a:prstGeom>
        </p:spPr>
      </p:pic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867769-D656-D7E9-6C7C-1D17D83BD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733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1EB1A-AB1E-2F1A-A3F6-B09A97EA7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0E9AADF-473E-F326-62FD-4DD4DC0021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424" y="2348880"/>
            <a:ext cx="6192688" cy="381642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Frequency and intensity of extreme events</a:t>
            </a:r>
            <a:r>
              <a:rPr lang="en-US" dirty="0"/>
              <a:t>: How often did extreme precipitation events (e.g. heavy rain, droughts) occur? Did they become more intense?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Regional differences</a:t>
            </a:r>
            <a:r>
              <a:rPr lang="en-US" dirty="0"/>
              <a:t>: Do extreme events occur more frequently in certain regions?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3F29E1-7E90-0D4A-8B30-1109608FE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ep 2: Extrem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7750E2-FB21-CF34-0385-8C7774E3D4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sp>
        <p:nvSpPr>
          <p:cNvPr id="5" name="Textplatzhalter 27">
            <a:extLst>
              <a:ext uri="{FF2B5EF4-FFF2-40B4-BE49-F238E27FC236}">
                <a16:creationId xmlns:a16="http://schemas.microsoft.com/office/drawing/2014/main" id="{C0E9378E-0B42-BA49-569B-7A8FFA58929E}"/>
              </a:ext>
            </a:extLst>
          </p:cNvPr>
          <p:cNvSpPr txBox="1">
            <a:spLocks/>
          </p:cNvSpPr>
          <p:nvPr/>
        </p:nvSpPr>
        <p:spPr>
          <a:xfrm>
            <a:off x="2135560" y="1427769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Weather Extreme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92542D4-C849-BEE1-641D-052128513C16}"/>
              </a:ext>
            </a:extLst>
          </p:cNvPr>
          <p:cNvGrpSpPr/>
          <p:nvPr/>
        </p:nvGrpSpPr>
        <p:grpSpPr>
          <a:xfrm>
            <a:off x="8101774" y="1100858"/>
            <a:ext cx="3178802" cy="2184126"/>
            <a:chOff x="8101774" y="1196750"/>
            <a:chExt cx="3178802" cy="2184126"/>
          </a:xfrm>
        </p:grpSpPr>
        <p:pic>
          <p:nvPicPr>
            <p:cNvPr id="1026" name="Picture 2" descr="undefined">
              <a:extLst>
                <a:ext uri="{FF2B5EF4-FFF2-40B4-BE49-F238E27FC236}">
                  <a16:creationId xmlns:a16="http://schemas.microsoft.com/office/drawing/2014/main" id="{D3A5ACC2-5A9D-84D1-6D28-85A22DCF627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91" b="16234"/>
            <a:stretch/>
          </p:blipFill>
          <p:spPr bwMode="auto">
            <a:xfrm>
              <a:off x="8101774" y="1196750"/>
              <a:ext cx="3168352" cy="1774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5D775A88-8823-509B-0203-76F73EB138DC}"/>
                </a:ext>
              </a:extLst>
            </p:cNvPr>
            <p:cNvSpPr txBox="1"/>
            <p:nvPr/>
          </p:nvSpPr>
          <p:spPr>
            <a:xfrm>
              <a:off x="8112224" y="3068960"/>
              <a:ext cx="3168352" cy="31191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de-DE" sz="1050" dirty="0">
                  <a:solidFill>
                    <a:schemeClr val="bg2">
                      <a:lumMod val="50000"/>
                    </a:schemeClr>
                  </a:solidFill>
                </a:rPr>
                <a:t>Flood in Altenahr-Kreuzberg, </a:t>
              </a:r>
              <a:r>
                <a:rPr lang="de-DE" sz="1050" dirty="0" err="1">
                  <a:solidFill>
                    <a:schemeClr val="bg2">
                      <a:lumMod val="50000"/>
                    </a:schemeClr>
                  </a:solidFill>
                </a:rPr>
                <a:t>July</a:t>
              </a:r>
              <a:r>
                <a:rPr lang="de-DE" sz="1050" dirty="0">
                  <a:solidFill>
                    <a:schemeClr val="bg2">
                      <a:lumMod val="50000"/>
                    </a:schemeClr>
                  </a:solidFill>
                </a:rPr>
                <a:t> 2021</a:t>
              </a:r>
              <a:br>
                <a:rPr lang="de-DE" sz="1050" dirty="0">
                  <a:solidFill>
                    <a:schemeClr val="bg2">
                      <a:lumMod val="50000"/>
                    </a:schemeClr>
                  </a:solidFill>
                </a:rPr>
              </a:br>
              <a:r>
                <a:rPr lang="de-DE" sz="1050" dirty="0" err="1">
                  <a:solidFill>
                    <a:schemeClr val="bg2">
                      <a:lumMod val="50000"/>
                    </a:schemeClr>
                  </a:solidFill>
                </a:rPr>
                <a:t>Photo</a:t>
              </a:r>
              <a:r>
                <a:rPr lang="de-DE" sz="1050" dirty="0">
                  <a:solidFill>
                    <a:schemeClr val="bg2">
                      <a:lumMod val="50000"/>
                    </a:schemeClr>
                  </a:solidFill>
                </a:rPr>
                <a:t>: </a:t>
              </a:r>
              <a:r>
                <a:rPr lang="de-DE" sz="1050" b="0" i="0" dirty="0">
                  <a:solidFill>
                    <a:srgbClr val="54595D"/>
                  </a:solidFill>
                  <a:effectLst/>
                  <a:latin typeface="Arial" panose="020B0604020202020204" pitchFamily="34" charset="0"/>
                </a:rPr>
                <a:t>Martin Seifert</a:t>
              </a:r>
              <a:endParaRPr lang="en-GB" sz="1050" dirty="0" err="1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119F197-635B-E605-3587-74697F5E2D4B}"/>
              </a:ext>
            </a:extLst>
          </p:cNvPr>
          <p:cNvGrpSpPr/>
          <p:nvPr/>
        </p:nvGrpSpPr>
        <p:grpSpPr>
          <a:xfrm>
            <a:off x="8112224" y="3740914"/>
            <a:ext cx="3168352" cy="2352382"/>
            <a:chOff x="8112224" y="3740914"/>
            <a:chExt cx="3168352" cy="235238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1E981755-3D57-5729-6793-CA926E3B4D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2225" y="3740914"/>
              <a:ext cx="3157902" cy="1776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250FBFD2-F342-DB4F-10E7-3F1F015D2D6C}"/>
                </a:ext>
              </a:extLst>
            </p:cNvPr>
            <p:cNvSpPr txBox="1"/>
            <p:nvPr/>
          </p:nvSpPr>
          <p:spPr>
            <a:xfrm>
              <a:off x="8112224" y="5589240"/>
              <a:ext cx="3168352" cy="50405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The river “</a:t>
              </a:r>
              <a:r>
                <a:rPr lang="en-US" sz="1050" dirty="0" err="1">
                  <a:solidFill>
                    <a:schemeClr val="bg2">
                      <a:lumMod val="50000"/>
                    </a:schemeClr>
                  </a:solidFill>
                </a:rPr>
                <a:t>Dreisam</a:t>
              </a:r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” has completely dried up 3 </a:t>
              </a:r>
              <a:r>
                <a:rPr lang="en-US" sz="1050" dirty="0" err="1">
                  <a:solidFill>
                    <a:schemeClr val="bg2">
                      <a:lumMod val="50000"/>
                    </a:schemeClr>
                  </a:solidFill>
                </a:rPr>
                <a:t>kilometres</a:t>
              </a:r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 west of Freiburg, August 2022</a:t>
              </a:r>
              <a:b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</a:br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Photo: Till </a:t>
              </a:r>
              <a:r>
                <a:rPr lang="en-US" sz="1050" dirty="0" err="1">
                  <a:solidFill>
                    <a:schemeClr val="bg2">
                      <a:lumMod val="50000"/>
                    </a:schemeClr>
                  </a:solidFill>
                </a:rPr>
                <a:t>Meinrenken</a:t>
              </a:r>
              <a:endParaRPr lang="en-GB" sz="1050" dirty="0" err="1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pic>
        <p:nvPicPr>
          <p:cNvPr id="17" name="Grafik 16" descr="Blitz mit einfarbiger Füllung">
            <a:extLst>
              <a:ext uri="{FF2B5EF4-FFF2-40B4-BE49-F238E27FC236}">
                <a16:creationId xmlns:a16="http://schemas.microsoft.com/office/drawing/2014/main" id="{282AF6A4-A5A9-127E-AF25-CE64D4BD7C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7448" y="1215100"/>
            <a:ext cx="914400" cy="914400"/>
          </a:xfrm>
          <a:prstGeom prst="rect">
            <a:avLst/>
          </a:prstGeom>
        </p:spPr>
      </p:pic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3DCC03C6-CB32-5ACE-3C85-B3827DA3A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768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5131A8-1410-C948-3757-4AE572771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ep 3: Predic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251A7F-65E6-D7E7-88F0-858E027447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sp>
        <p:nvSpPr>
          <p:cNvPr id="7" name="Textplatzhalter 27">
            <a:extLst>
              <a:ext uri="{FF2B5EF4-FFF2-40B4-BE49-F238E27FC236}">
                <a16:creationId xmlns:a16="http://schemas.microsoft.com/office/drawing/2014/main" id="{EF9AB94F-1F1D-C3F0-E276-2058B246D439}"/>
              </a:ext>
            </a:extLst>
          </p:cNvPr>
          <p:cNvSpPr txBox="1">
            <a:spLocks/>
          </p:cNvSpPr>
          <p:nvPr/>
        </p:nvSpPr>
        <p:spPr>
          <a:xfrm>
            <a:off x="2135560" y="1412776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dicting extreme Weather Events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2A039C83-452C-936C-52C3-469C170FC0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424" y="2348880"/>
            <a:ext cx="6192688" cy="381642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/>
              <a:t>Precipitation Patterns</a:t>
            </a:r>
            <a:r>
              <a:rPr lang="en-US" dirty="0"/>
              <a:t>: Are there any patterns before an extreme weather event that could be used to predict it?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b="1" dirty="0"/>
              <a:t>Early warning systems</a:t>
            </a:r>
            <a:r>
              <a:rPr lang="en-GB" dirty="0"/>
              <a:t>: </a:t>
            </a:r>
            <a:r>
              <a:rPr lang="en-US" dirty="0"/>
              <a:t>Can an early warning system be built from precipitation data? Could the flood disaster of 2021 have been recognized earlier?</a:t>
            </a:r>
            <a:endParaRPr lang="en-GB" dirty="0"/>
          </a:p>
        </p:txBody>
      </p:sp>
      <p:pic>
        <p:nvPicPr>
          <p:cNvPr id="15" name="Grafik 14" descr="Balkendiagramm mit Aufwärtstrend mit einfarbiger Füllung">
            <a:extLst>
              <a:ext uri="{FF2B5EF4-FFF2-40B4-BE49-F238E27FC236}">
                <a16:creationId xmlns:a16="http://schemas.microsoft.com/office/drawing/2014/main" id="{FB5962A3-BD24-671B-7A61-1766681672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447" y="1215100"/>
            <a:ext cx="914400" cy="914400"/>
          </a:xfrm>
          <a:prstGeom prst="rect">
            <a:avLst/>
          </a:prstGeom>
        </p:spPr>
      </p:pic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92524CA-109B-CD3C-D9BB-F032E703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48051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492D3-4CDB-61BE-DA60-F71EF5DB3B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E58A580-A753-B399-CEF2-8073790A6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13771B1-6C63-08C3-AA45-329F8E8761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sp>
        <p:nvSpPr>
          <p:cNvPr id="7" name="Textplatzhalter 27">
            <a:extLst>
              <a:ext uri="{FF2B5EF4-FFF2-40B4-BE49-F238E27FC236}">
                <a16:creationId xmlns:a16="http://schemas.microsoft.com/office/drawing/2014/main" id="{6826BF3B-B077-F339-E489-BABAF459439B}"/>
              </a:ext>
            </a:extLst>
          </p:cNvPr>
          <p:cNvSpPr txBox="1">
            <a:spLocks/>
          </p:cNvSpPr>
          <p:nvPr/>
        </p:nvSpPr>
        <p:spPr>
          <a:xfrm>
            <a:off x="2135560" y="1412776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Expected Challenges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F4E86268-007C-CCDB-1F8F-4919986AA0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1424" y="2348880"/>
            <a:ext cx="9289032" cy="381642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b="1" dirty="0"/>
              <a:t>Dataset size</a:t>
            </a:r>
            <a:r>
              <a:rPr lang="en-GB" dirty="0"/>
              <a:t>: parallel processing in chunk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b="1" dirty="0"/>
              <a:t>Inhomogeneous data</a:t>
            </a:r>
            <a:r>
              <a:rPr lang="en-GB" dirty="0"/>
              <a:t>: different time intervals and incomplete radar coverag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GB" dirty="0"/>
          </a:p>
        </p:txBody>
      </p:sp>
      <p:pic>
        <p:nvPicPr>
          <p:cNvPr id="5" name="Grafik 4" descr="Hürde mit einfarbiger Füllung">
            <a:extLst>
              <a:ext uri="{FF2B5EF4-FFF2-40B4-BE49-F238E27FC236}">
                <a16:creationId xmlns:a16="http://schemas.microsoft.com/office/drawing/2014/main" id="{19CAB021-2B05-0CCD-0A1D-083A9338BA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448" y="1200107"/>
            <a:ext cx="914400" cy="914400"/>
          </a:xfrm>
          <a:prstGeom prst="rect">
            <a:avLst/>
          </a:prstGeom>
        </p:spPr>
      </p:pic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1C833F7-904C-3F9D-39BF-43A63FA8C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9386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platzhalter 25" descr="Ein Bild, das dunkel, Meeresgrund, Nachthimmel enthält.&#10;&#10;Automatisch generierte Beschreibung">
            <a:extLst>
              <a:ext uri="{FF2B5EF4-FFF2-40B4-BE49-F238E27FC236}">
                <a16:creationId xmlns:a16="http://schemas.microsoft.com/office/drawing/2014/main" id="{162AD0EC-A704-A5DF-DFFD-6F956A359B3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E98A83D-6EE9-3626-FFF1-43E3B30FCD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ank you for your atten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9119419-96FB-F22B-DB1B-23FEE78AA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89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ec537c10-3f70-4282-8ec1-48273421da4e&quot; backupSlideId=&quot;157323ae-e6eb-4800-a13c-30b0c4bb6952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79.4395&quot; /&gt;&lt;column field=&quot;responsible&quot; label=&quot;Responsible&quot; visible=&quot;1&quot; checked=&quot;0&quot; leftSpacing=&quot;10&quot; rightDistribute=&quot;1&quot; dock=&quot;1&quot; rightSpacing=&quot;121.5901&quot; /&gt;&lt;column field=&quot;freecolumn&quot; label=&quot;&amp;lt;Header&amp;g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73a293c-87cd-40b1-acad-74fd05281448&quot; parentId=&quot;&quot; level=&quot;1&quot; generateAgendaSlide=&quot;1&quot; showAgendaItem=&quot;1&quot; isBreak=&quot;0&quot; topic=&quot;Introduction&quot; agendaSlideId=&quot;d9545623-35fc-43dc-995c-1d2139e07c0a&quot; /&gt;&lt;item duration=&quot;30&quot; id=&quot;ddf1aa9c-4907-4ff5-9092-7cd301612ef4&quot; parentId=&quot;&quot; level=&quot;1&quot; generateAgendaSlide=&quot;1&quot; showAgendaItem=&quot;1&quot; isBreak=&quot;0&quot; topic=&quot;Background and State of the Art&quot; agendaSlideId=&quot;ad4ece36-bf10-4223-89fe-4df2c6abe864&quot; /&gt;&lt;item duration=&quot;30&quot; id=&quot;0dbd182b-0c2f-4fed-bcd2-a20fbf11dd25&quot; parentId=&quot;&quot; level=&quot;1&quot; generateAgendaSlide=&quot;1&quot; showAgendaItem=&quot;1&quot; isBreak=&quot;0&quot; topic=&quot;Use Case - Deep Drawing of Car Body Parts&quot; agendaSlideId=&quot;40d50906-0906-429c-a355-07a6838585dd&quot; /&gt;&lt;item duration=&quot;30&quot; id=&quot;6e953121-e076-4980-9392-408e21942a62&quot; parentId=&quot;&quot; level=&quot;1&quot; generateAgendaSlide=&quot;1&quot; showAgendaItem=&quot;1&quot; isBreak=&quot;0&quot; topic=&quot;Failure Prediction with LSTMs&quot; agendaSlideId=&quot;4d1becd6-5c90-4169-962c-007a7cdaa87f&quot; /&gt;&lt;item duration=&quot;30&quot; id=&quot;54de6e31-9f80-476c-8e40-84d2f2612373&quot; parentId=&quot;&quot; level=&quot;1&quot; generateAgendaSlide=&quot;1&quot; showAgendaItem=&quot;1&quot; isBreak=&quot;0&quot; topic=&quot;Summary and Outlook&quot; agendaSlideId=&quot;a3215c3e-5c2f-4edb-88de-ce5dd5db0291&quot; /&gt;&lt;/items&gt;&lt;/agenda&gt;&lt;/contents&gt;&lt;/ee4p&gt;"/>
  <p:tag name="EE4P_LANGUAGE_ID" val="1033"/>
</p:tagLst>
</file>

<file path=ppt/theme/theme1.xml><?xml version="1.0" encoding="utf-8"?>
<a:theme xmlns:a="http://schemas.openxmlformats.org/drawingml/2006/main" name="TMDT-Design_2023">
  <a:themeElements>
    <a:clrScheme name="TMDT_Colortheme">
      <a:dk1>
        <a:srgbClr val="042042"/>
      </a:dk1>
      <a:lt1>
        <a:srgbClr val="FFFFFF"/>
      </a:lt1>
      <a:dk2>
        <a:srgbClr val="477BBB"/>
      </a:dk2>
      <a:lt2>
        <a:srgbClr val="D9D9D9"/>
      </a:lt2>
      <a:accent1>
        <a:srgbClr val="193D69"/>
      </a:accent1>
      <a:accent2>
        <a:srgbClr val="008798"/>
      </a:accent2>
      <a:accent3>
        <a:srgbClr val="73C0DE"/>
      </a:accent3>
      <a:accent4>
        <a:srgbClr val="89BA17"/>
      </a:accent4>
      <a:accent5>
        <a:srgbClr val="DECE13"/>
      </a:accent5>
      <a:accent6>
        <a:srgbClr val="FAB860"/>
      </a:accent6>
      <a:hlink>
        <a:srgbClr val="083E5F"/>
      </a:hlink>
      <a:folHlink>
        <a:srgbClr val="73C0D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 typeface="Wingdings" panose="05000000000000000000" pitchFamily="2" charset="2"/>
          <a:buNone/>
          <a:tabLst/>
          <a:defRPr kumimoji="0" sz="2000" b="0" i="0" u="none" strike="noStrike" kern="120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MDT-Design_221211" id="{341AF973-6194-47CD-BF58-5A077A4E8412}" vid="{4A86D0EF-D5AC-4F65-B576-F6DC36831F15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D7C0C27-EB7A-410B-B203-2FC3E05B4461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5</Words>
  <Application>Microsoft Office PowerPoint</Application>
  <PresentationFormat>Breitbild</PresentationFormat>
  <Paragraphs>47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Calibri</vt:lpstr>
      <vt:lpstr>Wingdings</vt:lpstr>
      <vt:lpstr>TMDT-Design_2023</vt:lpstr>
      <vt:lpstr>Data Analysis to Protect Against Climate-Driven Extremes</vt:lpstr>
      <vt:lpstr>The Dataset</vt:lpstr>
      <vt:lpstr>An exemplary Animation</vt:lpstr>
      <vt:lpstr>The next Steps of the Data Analysis</vt:lpstr>
      <vt:lpstr>Step 1: Basics</vt:lpstr>
      <vt:lpstr>Step 2: Extremes</vt:lpstr>
      <vt:lpstr>Step 3: Predictions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yael Night</dc:creator>
  <cp:lastModifiedBy>Elias Theis</cp:lastModifiedBy>
  <cp:revision>32</cp:revision>
  <cp:lastPrinted>2015-01-07T13:01:17Z</cp:lastPrinted>
  <dcterms:created xsi:type="dcterms:W3CDTF">2022-12-11T16:46:17Z</dcterms:created>
  <dcterms:modified xsi:type="dcterms:W3CDTF">2024-10-29T12:21:37Z</dcterms:modified>
</cp:coreProperties>
</file>